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1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6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5"/>
    <p:sldMasterId id="2147484702" r:id="rId6"/>
    <p:sldMasterId id="2147484292" r:id="rId7"/>
    <p:sldMasterId id="2147484701" r:id="rId8"/>
    <p:sldMasterId id="2147484537" r:id="rId9"/>
    <p:sldMasterId id="2147484393" r:id="rId10"/>
  </p:sldMasterIdLst>
  <p:notesMasterIdLst>
    <p:notesMasterId r:id="rId20"/>
  </p:notesMasterIdLst>
  <p:handoutMasterIdLst>
    <p:handoutMasterId r:id="rId21"/>
  </p:handoutMasterIdLst>
  <p:sldIdLst>
    <p:sldId id="369" r:id="rId11"/>
    <p:sldId id="402" r:id="rId12"/>
    <p:sldId id="403" r:id="rId13"/>
    <p:sldId id="404" r:id="rId14"/>
    <p:sldId id="405" r:id="rId15"/>
    <p:sldId id="406" r:id="rId16"/>
    <p:sldId id="407" r:id="rId17"/>
    <p:sldId id="408" r:id="rId18"/>
    <p:sldId id="409" r:id="rId19"/>
  </p:sldIdLst>
  <p:sldSz cx="9144000" cy="5143500" type="screen16x9"/>
  <p:notesSz cx="6858000" cy="9144000"/>
  <p:custDataLst>
    <p:tags r:id="rId22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E2C3"/>
    <a:srgbClr val="E5E5E5"/>
    <a:srgbClr val="B2B2B2"/>
    <a:srgbClr val="7F7F7F"/>
    <a:srgbClr val="008C95"/>
    <a:srgbClr val="003D4C"/>
    <a:srgbClr val="754A3C"/>
    <a:srgbClr val="00313C"/>
    <a:srgbClr val="2E3187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1558" autoAdjust="0"/>
  </p:normalViewPr>
  <p:slideViewPr>
    <p:cSldViewPr snapToGrid="0">
      <p:cViewPr varScale="1">
        <p:scale>
          <a:sx n="148" d="100"/>
          <a:sy n="148" d="100"/>
        </p:scale>
        <p:origin x="282" y="1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3226984351506963E-2"/>
          <c:y val="2.1595724196074962E-2"/>
          <c:w val="0.80398935263069815"/>
          <c:h val="0.85441372418781303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илиал АО "ТГК-16" - "Казанская ТЭЦ-3"</c:v>
                </c:pt>
              </c:strCache>
            </c:strRef>
          </c:tx>
          <c:spPr>
            <a:solidFill>
              <a:srgbClr val="008C95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3</c:f>
              <c:strCache>
                <c:ptCount val="2"/>
                <c:pt idx="0">
                  <c:v>Утвержденная Инвестиционная программа (2021 год)</c:v>
                </c:pt>
                <c:pt idx="1">
                  <c:v>Факт исполнения Инвестиционной программы (2021 год) 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79-467E-96A3-D9BF4C7A4C9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илиал АО "ТГК-16" - "Нижнекамская ТЭЦ (ПТК-1)"</c:v>
                </c:pt>
              </c:strCache>
            </c:strRef>
          </c:tx>
          <c:spPr>
            <a:solidFill>
              <a:srgbClr val="003D4C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3</c:f>
              <c:strCache>
                <c:ptCount val="2"/>
                <c:pt idx="0">
                  <c:v>Утвержденная Инвестиционная программа (2021 год)</c:v>
                </c:pt>
                <c:pt idx="1">
                  <c:v>Факт исполнения Инвестиционной программы (2021 год) 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5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79-467E-96A3-D9BF4C7A4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42030928"/>
        <c:axId val="724822144"/>
        <c:axId val="0"/>
      </c:bar3DChart>
      <c:catAx>
        <c:axId val="1042030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24822144"/>
        <c:crosses val="autoZero"/>
        <c:auto val="1"/>
        <c:lblAlgn val="ctr"/>
        <c:lblOffset val="100"/>
        <c:noMultiLvlLbl val="0"/>
      </c:catAx>
      <c:valAx>
        <c:axId val="724822144"/>
        <c:scaling>
          <c:orientation val="minMax"/>
          <c:max val="23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4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2030928"/>
        <c:crosses val="autoZero"/>
        <c:crossBetween val="between"/>
        <c:majorUnit val="1"/>
        <c:min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50546092015778"/>
          <c:y val="0.22826703112266097"/>
          <c:w val="0.18246462151042384"/>
          <c:h val="0.411624737923201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accent4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942682551558991E-2"/>
          <c:y val="3.3460056156075377E-2"/>
          <c:w val="0.68700877637457303"/>
          <c:h val="0.823355705424339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илиал АО "ТГК-16" - "Казанская ТЭЦ-3"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Утвержденная инвестиционная программа на 2022г.</c:v>
                </c:pt>
                <c:pt idx="1">
                  <c:v>Факт исполнения 
за 1 полугодие 2022г.</c:v>
                </c:pt>
                <c:pt idx="2">
                  <c:v>Ожидаемый факт исполнения за 2022г.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</c:v>
                </c:pt>
                <c:pt idx="1">
                  <c:v>5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3B-4FA4-B6FA-D13B114CE7B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илиал АО "ТГК-16" - "Нижнекамская ТЭЦ (ПТК-1)"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Утвержденная инвестиционная программа на 2022г.</c:v>
                </c:pt>
                <c:pt idx="1">
                  <c:v>Факт исполнения 
за 1 полугодие 2022г.</c:v>
                </c:pt>
                <c:pt idx="2">
                  <c:v>Ожидаемый факт исполнения за 2022г.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0</c:v>
                </c:pt>
                <c:pt idx="1">
                  <c:v>9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3B-4FA4-B6FA-D13B114CE7B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Центральный офис АО "ТГК-16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Утвержденная инвестиционная программа на 2022г.</c:v>
                </c:pt>
                <c:pt idx="1">
                  <c:v>Факт исполнения 
за 1 полугодие 2022г.</c:v>
                </c:pt>
                <c:pt idx="2">
                  <c:v>Ожидаемый факт исполнения за 2022г.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3B-4FA4-B6FA-D13B114CE7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7615536"/>
        <c:axId val="307614224"/>
      </c:barChart>
      <c:catAx>
        <c:axId val="307615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07614224"/>
        <c:crosses val="autoZero"/>
        <c:auto val="1"/>
        <c:lblAlgn val="ctr"/>
        <c:lblOffset val="100"/>
        <c:noMultiLvlLbl val="0"/>
      </c:catAx>
      <c:valAx>
        <c:axId val="307614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07615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194912752327832"/>
          <c:y val="0.27867942808556845"/>
          <c:w val="0.28805087247672173"/>
          <c:h val="0.389155108780130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4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165</cdr:x>
      <cdr:y>0.30446</cdr:y>
    </cdr:from>
    <cdr:to>
      <cdr:x>0.34297</cdr:x>
      <cdr:y>0.6955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1921293-AA90-41EF-ACA4-4E305EB6A756}"/>
            </a:ext>
          </a:extLst>
        </cdr:cNvPr>
        <cdr:cNvSpPr txBox="1"/>
      </cdr:nvSpPr>
      <cdr:spPr>
        <a:xfrm xmlns:a="http://schemas.openxmlformats.org/drawingml/2006/main" rot="16200000">
          <a:off x="1944701" y="1891839"/>
          <a:ext cx="1655101" cy="4483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825" kern="1200" dirty="0">
              <a:solidFill>
                <a:schemeClr val="bg1"/>
              </a:solidFill>
              <a:effectLst>
                <a:outerShdw blurRad="50800" dist="50800" dir="5400000" algn="ctr" rotWithShape="0">
                  <a:schemeClr val="tx1"/>
                </a:outerShdw>
              </a:effectLst>
            </a:rPr>
            <a:t>млн</a:t>
          </a:r>
          <a:r>
            <a:rPr lang="ru-RU" sz="1100" dirty="0">
              <a:solidFill>
                <a:schemeClr val="bg1"/>
              </a:solidFill>
              <a:effectLst>
                <a:outerShdw blurRad="50800" dist="50800" dir="5400000" algn="ctr" rotWithShape="0">
                  <a:schemeClr val="tx1"/>
                </a:outerShdw>
              </a:effectLst>
            </a:rPr>
            <a:t>. </a:t>
          </a:r>
          <a:r>
            <a:rPr lang="ru-RU" sz="830" dirty="0">
              <a:solidFill>
                <a:schemeClr val="bg1"/>
              </a:solidFill>
              <a:effectLst>
                <a:outerShdw blurRad="50800" dist="50800" dir="5400000" algn="ctr" rotWithShape="0">
                  <a:schemeClr val="tx1"/>
                </a:outerShdw>
              </a:effectLst>
            </a:rPr>
            <a:t>руб. без НДС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4481</cdr:x>
      <cdr:y>0.30754</cdr:y>
    </cdr:from>
    <cdr:to>
      <cdr:x>0.21004</cdr:x>
      <cdr:y>0.3561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05161" y="1363998"/>
          <a:ext cx="542925" cy="21544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r>
            <a:rPr lang="ru-RU" sz="1400" dirty="0">
              <a:solidFill>
                <a:schemeClr val="tx2"/>
              </a:solidFill>
            </a:rPr>
            <a:t>17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C25C5C-7FC0-4819-8C81-919299335A17}" type="datetime4">
              <a:rPr lang="ru-RU" smtClean="0"/>
              <a:t>28 июл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20E9E-D457-4A63-A825-A3F887B00604}" type="datetime4">
              <a:rPr lang="ru-RU" smtClean="0"/>
              <a:t>28 июл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BBB9-F402-4297-9D1B-B77DCEB02B1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040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BBB9-F402-4297-9D1B-B77DCEB02B1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5285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BBB9-F402-4297-9D1B-B77DCEB02B1A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590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BBB9-F402-4297-9D1B-B77DCEB02B1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432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7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5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0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1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2722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169" y="4682200"/>
            <a:ext cx="998655" cy="2088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57208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7543929" y="633102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Partners for progress</a:t>
            </a:r>
            <a:endParaRPr lang="ru-RU" sz="1100" dirty="0">
              <a:solidFill>
                <a:schemeClr val="accent1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9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BF1EFEC-A086-4F53-A3E2-0B80C6EFC2A5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28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5DE5AC6-13BB-4193-AA89-017F5C99A213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38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6E79B67-FFEA-4AB5-9E37-4BBB77ABC50F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515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B22AF31-472E-41CE-AD78-0F57DF26670E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442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2D1572B-1421-495C-8BA5-EB9EDC3C7A33}" type="datetime1">
              <a:rPr lang="ru-RU" smtClean="0"/>
              <a:t>28.07.2022</a:t>
            </a:fld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53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3D46D263-E1CD-48A7-958D-5F3F2D21DD0F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89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8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CF0C25A-5171-49BE-A3B9-57DB2305CC37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background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001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7248A53-6268-4F6F-9D43-CA5DA32DB7EB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97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C91EB10-7FD9-4B97-BB3C-37495901E825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770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9CEB8DF1-F1F5-4D80-B389-A6BBFC0E2084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1194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4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8F62C71-856B-466F-AC12-8BF5589CF533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358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E4B136B-E692-42BD-B8C4-592B86B3E7D1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765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9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4F86D5B1-6736-4F73-8C65-E81A90FA8C83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99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831A572-374A-4132-B4B8-E39D7CF1A55A}" type="datetime1">
              <a:rPr lang="ru-RU" smtClean="0"/>
              <a:t>28.07.2022</a:t>
            </a:fld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73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3BD01B36-2411-4DA7-B6AA-B0EE25466A4A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47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03C830C6-770E-4713-A3EF-327749ADAF8B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3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1F7597A2-ECAC-497D-A06D-8B8E22F2F25C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44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2F0D20EF-5845-4087-BCA4-86A828A669CC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6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75F13C16-99C4-40D7-B926-83C5B41D39AF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84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14ED314A-4FD6-42D7-B9FC-640737849869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20821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8" name="TextBox 37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98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D1C8869C-8BB9-464B-AEDE-09115F9B46AF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485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5CD9FE6C-6150-415F-9504-81DBE258639A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Resume + Background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57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fld id="{2601156B-FE1A-44A6-B642-CD4C6ACCE8E7}" type="datetime1">
              <a:rPr lang="ru-RU" smtClean="0"/>
              <a:t>28.07.2022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+ introduction + bulle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585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3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44B6BDC-AA01-446B-90B0-A4554E17F898}" type="datetime1">
              <a:rPr lang="ru-RU" smtClean="0"/>
              <a:t>28.07.2022</a:t>
            </a:fld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bulle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102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1B3C294-F2B1-4276-B251-02D27601171C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419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4AFB885B-6358-4AE6-9E1C-1FFB52BBAF64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909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3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63A3808-7624-46F6-AB34-4F37F9861D5B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890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C4799FF-2A42-4673-B04F-62C8EE717B0F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26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910D8CD7-E347-4F51-857C-D0C85DB62322}" type="datetime1">
              <a:rPr lang="ru-RU" smtClean="0"/>
              <a:t>28.07.2022</a:t>
            </a:fld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472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4368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9687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40" name="TextBox 39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41" name="Рисунок 40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42" name="Группа 4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3" name="Прямоугольник 4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4" name="Прямая соединительная линия 4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5" name="Группа 44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39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05761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869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45957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64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4901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66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628213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41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59194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7 self ma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29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70817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0DC748-39B9-480D-ABE2-574FF2456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A237D5-CEC1-422C-9B2F-C156C59610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5E6128-D450-4AC9-B169-702361AAB3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8CF0E-39E7-4CFA-AC56-8944C845BFE5}" type="datetime1">
              <a:rPr lang="ru-RU" smtClean="0"/>
              <a:t>28.07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240B7F-28DA-4031-8AE9-A11210D08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EF6BD0-FC67-4A7B-BB75-D39A00DEA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5355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70140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Прямоугольник 5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366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41" name="Группа 40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2" name="Прямоугольник 4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3" name="Прямая соединительная линия 42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Группа 43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TextBox 66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13516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 err="1"/>
              <a:t>vEvent</a:t>
            </a:r>
            <a:r>
              <a:rPr lang="en-US" dirty="0"/>
              <a:t>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41" name="Группа 40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2" name="Прямоугольник 4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3" name="Прямая соединительная линия 42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Группа 43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TextBox 66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4114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8" name="TextBox 37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4456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40" name="TextBox 39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41" name="Рисунок 40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42" name="Группа 4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3" name="Прямоугольник 4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4" name="Прямая соединительная линия 4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5" name="Группа 44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TextBox 66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036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8" name="TextBox 37"/>
          <p:cNvSpPr txBox="1"/>
          <p:nvPr userDrawn="1"/>
        </p:nvSpPr>
        <p:spPr>
          <a:xfrm>
            <a:off x="7553364" y="4344608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4048240"/>
            <a:ext cx="998655" cy="208800"/>
          </a:xfrm>
          <a:prstGeom prst="rect">
            <a:avLst/>
          </a:prstGeom>
          <a:effectLst/>
        </p:spPr>
      </p:pic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562058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169" y="4682200"/>
            <a:ext cx="998655" cy="208800"/>
          </a:xfrm>
          <a:prstGeom prst="rect">
            <a:avLst/>
          </a:prstGeom>
          <a:effectLst/>
        </p:spPr>
      </p:pic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7785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8" name="TextBox 37"/>
          <p:cNvSpPr txBox="1"/>
          <p:nvPr userDrawn="1"/>
        </p:nvSpPr>
        <p:spPr>
          <a:xfrm>
            <a:off x="7543929" y="633102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Partners for progress</a:t>
            </a:r>
            <a:endParaRPr lang="ru-RU" sz="1100" dirty="0">
              <a:solidFill>
                <a:schemeClr val="accent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6" name="Прямоугольник 5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54660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46" name="TextBox 45"/>
          <p:cNvSpPr txBox="1"/>
          <p:nvPr userDrawn="1"/>
        </p:nvSpPr>
        <p:spPr>
          <a:xfrm>
            <a:off x="7543929" y="633102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Partners for progress</a:t>
            </a:r>
            <a:endParaRPr lang="ru-RU" sz="1100" dirty="0">
              <a:solidFill>
                <a:schemeClr val="accent1"/>
              </a:solidFill>
            </a:endParaRPr>
          </a:p>
        </p:txBody>
      </p:sp>
      <p:pic>
        <p:nvPicPr>
          <p:cNvPr id="47" name="Рисунок 4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998655" cy="208800"/>
          </a:xfrm>
          <a:prstGeom prst="rect">
            <a:avLst/>
          </a:prstGeom>
          <a:effectLst/>
        </p:spPr>
      </p:pic>
      <p:grpSp>
        <p:nvGrpSpPr>
          <p:cNvPr id="48" name="Группа 4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9" name="Прямоугольник 4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0" name="Прямая соединительная линия 4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1" name="Группа 50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6" name="Прямоугольник 5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TextBox 75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1046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8" name="TextBox 37"/>
          <p:cNvSpPr txBox="1"/>
          <p:nvPr userDrawn="1"/>
        </p:nvSpPr>
        <p:spPr>
          <a:xfrm>
            <a:off x="7543929" y="456021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Partners for progress</a:t>
            </a:r>
            <a:endParaRPr lang="ru-RU" sz="1100" dirty="0">
              <a:solidFill>
                <a:schemeClr val="accent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67214"/>
            <a:ext cx="998655" cy="208800"/>
          </a:xfrm>
          <a:prstGeom prst="rect">
            <a:avLst/>
          </a:prstGeom>
          <a:effectLst/>
        </p:spPr>
      </p:pic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7" name="Прямоугольник 56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86905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46" name="TextBox 45"/>
          <p:cNvSpPr txBox="1"/>
          <p:nvPr userDrawn="1"/>
        </p:nvSpPr>
        <p:spPr>
          <a:xfrm>
            <a:off x="7543929" y="456021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Partners for progress</a:t>
            </a:r>
            <a:endParaRPr lang="ru-RU" sz="1100" dirty="0">
              <a:solidFill>
                <a:schemeClr val="accent1"/>
              </a:solidFill>
            </a:endParaRPr>
          </a:p>
        </p:txBody>
      </p:sp>
      <p:pic>
        <p:nvPicPr>
          <p:cNvPr id="47" name="Рисунок 4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67214"/>
            <a:ext cx="998655" cy="208800"/>
          </a:xfrm>
          <a:prstGeom prst="rect">
            <a:avLst/>
          </a:prstGeom>
          <a:effectLst/>
        </p:spPr>
      </p:pic>
      <p:grpSp>
        <p:nvGrpSpPr>
          <p:cNvPr id="48" name="Группа 4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9" name="Прямоугольник 4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0" name="Прямая соединительная линия 4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1" name="Группа 50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7" name="Прямоугольник 5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9332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7145666" y="4594062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882" y="4297694"/>
            <a:ext cx="998655" cy="208800"/>
          </a:xfrm>
          <a:prstGeom prst="rect">
            <a:avLst/>
          </a:prstGeom>
          <a:effectLst/>
        </p:spPr>
      </p:pic>
      <p:grpSp>
        <p:nvGrpSpPr>
          <p:cNvPr id="41" name="Группа 40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2" name="Прямоугольник 4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3" name="Прямая соединительная линия 42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Группа 43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68995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7145666" y="4563582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882" y="4267214"/>
            <a:ext cx="998655" cy="208800"/>
          </a:xfrm>
          <a:prstGeom prst="rect">
            <a:avLst/>
          </a:prstGeom>
          <a:effectLst/>
        </p:spPr>
      </p:pic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920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CAF492A-6159-4641-AF56-7996CE141D92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645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B441153-9B2F-4BAB-89FA-9778CCB570A4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89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412A8F6-8CC5-48A0-AEF3-45827407AC15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97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F68B470-7977-4061-967C-342FDA0ED05A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539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5867320" y="4705350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169" y="4682200"/>
            <a:ext cx="998655" cy="208800"/>
          </a:xfrm>
          <a:prstGeom prst="rect">
            <a:avLst/>
          </a:prstGeom>
          <a:effectLst/>
        </p:spPr>
      </p:pic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5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491912EE-37CC-4DC9-98DB-1C4AB5EE8273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450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2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5A4BDDB-CA31-4A8F-9F9F-6C1C6953D50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553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64823C7-6168-40F1-8427-5B7E9A69B0F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23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2D6DC83-AA20-4D89-9392-F89C94DA48AE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38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4AF1BA1-AB1C-4DB5-9D01-D46724D0D95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263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24B7F97-3E1F-4CF9-9AFF-9780EA611249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9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6B871C7-39BB-4D39-B6AE-DE69FE507629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581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B7B675E-6459-434B-A3FE-A5939073343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416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DC53889-C64D-47D0-A90D-0132BC248058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346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841F35F-C47F-404E-A70E-44206B63B933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5255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169" y="4682200"/>
            <a:ext cx="998655" cy="208800"/>
          </a:xfrm>
          <a:prstGeom prst="rect">
            <a:avLst/>
          </a:prstGeom>
          <a:effectLst/>
        </p:spPr>
      </p:pic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203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88FB3C8-697F-4527-A50E-F92A4739A82C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76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781F7D8-11A7-487D-9840-39BB7CEE4DF1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64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B675893-4044-4F23-855C-5BBD77744398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06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C06A642-25CE-4B4B-B5BF-B566EEC594BF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39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FB37B68-7810-4AEA-9592-EF413C76AA95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17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A7EA786-A794-4CFF-BAFA-E830A269F2BB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16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0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6171504-1D85-4C15-910C-E523784D2D49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322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5EE4149-1D58-4BD8-8603-BE4DA98A0B38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980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851219F-952C-48FF-9827-8999A857DFD9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3243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B13F21E1-6FAF-4F38-8C90-352442BB30C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1110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169" y="4682200"/>
            <a:ext cx="998655" cy="208800"/>
          </a:xfrm>
          <a:prstGeom prst="rect">
            <a:avLst/>
          </a:prstGeom>
          <a:effectLst/>
        </p:spPr>
      </p:pic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34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8E07D81-9F5D-4AF0-A47E-E66ACA7848AC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834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5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981F782-EF1A-4112-97C7-3569930F564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472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4ABFF86-3E86-4C24-84E0-76F23A317130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362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5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B5CC760-6C55-4163-9D16-7CCA47C6A93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438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A54BF05-0B0D-4479-935A-1BF782F627B3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4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7BC4C52-05FE-404D-976D-CF1CB24B78DF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25045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8C4CD79-B9D8-4CF0-893C-878ED9782AA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74662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EB714C2-87A1-4A76-843D-DDFF4289410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35665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D275635-AF31-443F-B79C-D4AD5CF66AA2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93386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98283D9-601D-46E3-A6BD-B7B46F1728D2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17302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7155828" y="459559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998655" cy="208800"/>
          </a:xfrm>
          <a:prstGeom prst="rect">
            <a:avLst/>
          </a:prstGeom>
          <a:effectLst/>
        </p:spPr>
      </p:pic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73219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48443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0002A29-9E7B-4AE6-90F8-92BC7460C0B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82317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F259233-41E5-46DB-A7B3-CFB895E24281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47800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201A346-B6A5-43D0-912D-765A88B66254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73395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1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A60FFD8-9E6A-416C-83C4-3EA59B535BA2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68020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1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43147C2-36D4-48A3-BB20-EEE9C8D18AAD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34763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AB1022D-1BAD-4582-A61C-DFE37E10A401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58280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A279909-287C-4C33-90DE-C70CB6D1868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3201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022336D-9343-457F-92AA-7B46EFF70181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24192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889ADA8-DE38-4FFE-A4CC-3795577B38F3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08144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AD361DE-ED47-4165-BF51-ABE8120B4AF9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2441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7155828" y="459559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998655" cy="208800"/>
          </a:xfrm>
          <a:prstGeom prst="rect">
            <a:avLst/>
          </a:prstGeom>
          <a:effectLst/>
        </p:spPr>
      </p:pic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73722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grpSp>
        <p:nvGrpSpPr>
          <p:cNvPr id="41" name="Группа 40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2" name="Прямоугольник 4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3" name="Прямая соединительная линия 42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Группа 43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26398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6EFCDA4-F9CC-49F5-8965-909F8E9EF611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31393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4C6E720-A450-4D1B-B99A-6599821C4FC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0921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F656815-9FC2-4E91-8D6B-05B95830F71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63129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1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AE506DF-A884-4DAC-8A96-58EBF581B1C5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94633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41C0B95-D697-422B-B47B-47E115826475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48222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EC2AE33-F4EE-4569-941C-7251B9B24FD7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84825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DAEC6D9-F9EA-4521-B8AC-0DDA538B01F6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elds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2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9303E51-AD7F-4D3E-96D2-220A2686A7CE}" type="datetime1">
              <a:rPr lang="ru-RU" smtClean="0"/>
              <a:t>28.07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endParaRPr lang="ru-RU" dirty="0"/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4"/>
          </p:nvPr>
        </p:nvSpPr>
        <p:spPr>
          <a:xfrm>
            <a:off x="362888" y="4760859"/>
            <a:ext cx="319083" cy="1871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94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4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ontact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EDCA625-BDC0-4A56-A07F-6A85D7EBE2CD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729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Our team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C16C82D-249C-4926-B263-341D1635F522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98407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40" name="TextBox 39"/>
          <p:cNvSpPr txBox="1"/>
          <p:nvPr userDrawn="1"/>
        </p:nvSpPr>
        <p:spPr>
          <a:xfrm>
            <a:off x="7155828" y="459559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41" name="Рисунок 40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998655" cy="208800"/>
          </a:xfrm>
          <a:prstGeom prst="rect">
            <a:avLst/>
          </a:prstGeom>
          <a:effectLst/>
        </p:spPr>
      </p:pic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73722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</p:txBody>
      </p:sp>
      <p:grpSp>
        <p:nvGrpSpPr>
          <p:cNvPr id="42" name="Группа 4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3" name="Прямоугольник 4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4" name="Прямая соединительная линия 4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5" name="Группа 44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TextBox 8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TextBox 9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974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Our team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BEF5B8D-C57A-48BE-A58D-147E45863FB2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73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Our team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B04DA75-89FD-4156-A505-1E7DB066E04B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338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Our team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D98FF9A-054C-42E4-B8DC-7CAE0FD6E4F3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063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Our team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0974521-B4A1-48AD-B9E1-7F9986AABCEC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lvl1pPr>
            <a:lvl3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rname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Position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Functional directio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email@sibur.ru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+7 (495) 777 55 00</a:t>
            </a:r>
            <a:b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#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+mn-lt"/>
              </a:rPr>
              <a:t>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5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aseline="0"/>
            </a:lvl1pPr>
          </a:lstStyle>
          <a:p>
            <a:r>
              <a:rPr lang="en-US" dirty="0"/>
              <a:t>Company </a:t>
            </a:r>
            <a:r>
              <a:rPr lang="en-US" dirty="0" err="1"/>
              <a:t>contacn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D221D8E1-95C2-47F0-83E3-0B07ACF98510}" type="datetime1">
              <a:rPr lang="ru-RU" smtClean="0"/>
              <a:t>28.07.2022</a:t>
            </a:fld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Phone</a:t>
            </a:r>
            <a:r>
              <a:rPr lang="ru-RU" dirty="0"/>
              <a:t>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contac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21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aseline="0"/>
            </a:lvl1pPr>
          </a:lstStyle>
          <a:p>
            <a:r>
              <a:rPr lang="en-US" dirty="0"/>
              <a:t>Company contact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2A6290E-EB8D-4F74-8CD4-2EACF446E387}" type="datetime1">
              <a:rPr lang="ru-RU" smtClean="0"/>
              <a:t>28.07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</a:t>
            </a:r>
            <a:r>
              <a:rPr lang="en-US" dirty="0"/>
              <a:t>code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Phone</a:t>
            </a:r>
            <a:r>
              <a:rPr lang="ru-RU" dirty="0"/>
              <a:t>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72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0B25729-768F-4B61-B16F-55A1CAEC9A17}" type="datetime1">
              <a:rPr lang="ru-RU" smtClean="0"/>
              <a:t>28.07.2022</a:t>
            </a:fld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64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37F42C7C-9AA4-4B40-B76B-E935277FE489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68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47E0DAC6-A800-43DB-9C84-0B63EF19B13E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28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A8C1389-BB15-4020-B398-712875C61A09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7093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Name Surname</a:t>
            </a:r>
          </a:p>
          <a:p>
            <a:pPr lvl="0">
              <a:spcAft>
                <a:spcPts val="0"/>
              </a:spcAft>
            </a:pPr>
            <a:r>
              <a:rPr lang="en-US" dirty="0"/>
              <a:t>Position</a:t>
            </a:r>
            <a:br>
              <a:rPr lang="ru-RU" dirty="0"/>
            </a:br>
            <a:r>
              <a:rPr lang="en-US" dirty="0"/>
              <a:t>Company </a:t>
            </a:r>
            <a:r>
              <a:rPr lang="ru-RU" dirty="0"/>
              <a:t>/ </a:t>
            </a:r>
            <a:r>
              <a:rPr lang="en-US" dirty="0"/>
              <a:t>function</a:t>
            </a:r>
            <a:r>
              <a:rPr lang="ru-RU" dirty="0"/>
              <a:t> / </a:t>
            </a:r>
            <a:r>
              <a:rPr lang="en-US" dirty="0"/>
              <a:t>department</a:t>
            </a:r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vent name / place</a:t>
            </a:r>
          </a:p>
          <a:p>
            <a:pPr lvl="0"/>
            <a:r>
              <a:rPr lang="en-US" dirty="0"/>
              <a:t>Date / year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Subtitle </a:t>
            </a:r>
            <a:br>
              <a:rPr lang="ru-RU" dirty="0"/>
            </a:br>
            <a:r>
              <a:rPr lang="en-US" dirty="0"/>
              <a:t>(to be filled in if necessary)</a:t>
            </a:r>
            <a:endParaRPr lang="ru-RU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7155828" y="4595594"/>
            <a:ext cx="15055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Partners for progress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998655" cy="208800"/>
          </a:xfrm>
          <a:prstGeom prst="rect">
            <a:avLst/>
          </a:prstGeom>
          <a:effectLst/>
        </p:spPr>
      </p:pic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ations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r slide design</a:t>
              </a:r>
            </a:p>
            <a:p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EX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rporate fon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–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(</a:t>
              </a:r>
              <a:r>
                <a:rPr kumimoji="0" lang="en-US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lowed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rial Narrow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)</a:t>
              </a: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6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lide title of at le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tes of at least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t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4" indent="-8890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3 font sizes shall be used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a slide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HART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ngle style of charts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fonts of equal size in diagram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one slide</a:t>
              </a:r>
            </a:p>
            <a:p>
              <a:pPr marL="266700" marR="0" lvl="1" indent="-793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o more than 4 diagrams in one slide</a:t>
              </a:r>
              <a:endPara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CONS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lways choose icons’ design in single style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ever distort proportions</a:t>
              </a:r>
            </a:p>
            <a:p>
              <a:pPr marL="266700" marR="0" lvl="1" indent="-84138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commended resolution is no more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an 150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pi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NERAL RECOMMEND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o not insert too much of a text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esentation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 simple schemes and graphics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ke slides laconic</a:t>
              </a:r>
              <a:endPara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729687" cy="5155816"/>
              <a:chOff x="9101894" y="-42611"/>
              <a:chExt cx="729687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Прямоугольник 5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4074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solidFill>
                      <a:schemeClr val="bg1"/>
                    </a:solidFill>
                  </a:rPr>
                  <a:t>Main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7296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err="1">
                    <a:solidFill>
                      <a:schemeClr val="bg1"/>
                    </a:solidFill>
                  </a:rPr>
                  <a:t>Add.colours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38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D4EFEBD-2586-4DCA-ABD0-5B68B4031273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94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85341F9-E0F9-4466-8420-D585A2A11F71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974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0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196FCB7-FD24-4C19-8730-BF71AE6829E0}" type="datetime1">
              <a:rPr lang="ru-RU" smtClean="0"/>
              <a:t>28.07.2022</a:t>
            </a:fld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B62702B8-6BB1-4D3E-A821-CFF3DA1DA2E2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1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183F676-B3CC-4695-9C8E-98992A9BCC85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85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30F7A33-553B-406F-A597-DB547580ECD1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9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7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A0B8027-E579-4B2C-B313-6C5E2FC1F05A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64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BE1D5565-4FAF-4D2E-B370-E532CE6B1395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46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92774A5C-FB33-4403-A04E-DA52361957C2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7560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53CA7DE-8645-46B4-9AE1-DBE01749DAAA}" type="datetime1">
              <a:rPr lang="ru-RU" smtClean="0"/>
              <a:t>28.07.2022</a:t>
            </a:fld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oleObject" Target="../embeddings/oleObject27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tags" Target="../tags/tag3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tags" Target="../tags/tag2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vmlDrawing" Target="../drawings/vmlDrawing27.v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theme" Target="../theme/theme2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tags" Target="../tags/tag6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vmlDrawing" Target="../drawings/vmlDrawing57.v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oleObject" Target="../embeddings/oleObject57.bin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tags" Target="../tags/tag61.xml"/><Relationship Id="rId30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oleObject" Target="../embeddings/oleObject81.bin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ags" Target="../tags/tag86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85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81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tags" Target="../tags/tag96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vmlDrawing" Target="../drawings/vmlDrawing90.v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oleObject" Target="../embeddings/oleObject90.bin"/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tags" Target="../tags/tag95.xml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oleObject" Target="../embeddings/oleObject134.bin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ags" Target="../tags/tag14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140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34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6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733659484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22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 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102B983F-C717-41AE-B3B8-6DF9F8120891}" type="datetime1">
              <a:rPr lang="ru-RU" smtClean="0"/>
              <a:t>28.07.2022</a:t>
            </a:fld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674401616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8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 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5E7912CD-D3B2-4682-8FCE-8B15A6B737B9}" type="datetime1">
              <a:rPr lang="ru-RU" smtClean="0"/>
              <a:t>28.07.2022</a:t>
            </a:fld>
            <a:endParaRPr lang="en-US"/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5" name="Прямоугольник 34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7096791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28"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 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C5123DB2-F2F1-49D2-81B6-CA551EC4E729}" type="datetime1">
              <a:rPr lang="ru-RU" smtClean="0"/>
              <a:t>28.07.2022</a:t>
            </a:fld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  <p:sp>
        <p:nvSpPr>
          <p:cNvPr id="34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z="800" smtClean="0"/>
            </a:lvl1pPr>
          </a:lstStyle>
          <a:p>
            <a:fld id="{31ED88B6-9D2D-479B-ABA6-BAE9EF28FCC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5" name="Группа 34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9" name="Прямоугольник 38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914330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68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 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4B46FE5E-8E3D-468D-B7D4-62BE94A0FA00}" type="datetime1">
              <a:rPr lang="ru-RU" smtClean="0"/>
              <a:t>28.07.2022</a:t>
            </a:fld>
            <a:endParaRPr lang="en-US" dirty="0"/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5" name="Прямоугольник 34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958674096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17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 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FA1A3975-D602-48BD-83A3-6EE1FEDADAA4}" type="datetime1">
              <a:rPr lang="ru-RU" smtClean="0"/>
              <a:t>28.07.2022</a:t>
            </a:fld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4" name="Прямоугольник 33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8" name="Прямоугольник 37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9395081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922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Slide title (no more than 2 lines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498" y="4783244"/>
            <a:ext cx="688727" cy="144000"/>
          </a:xfrm>
          <a:prstGeom prst="rect">
            <a:avLst/>
          </a:prstGeom>
          <a:effectLst/>
        </p:spPr>
      </p:pic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729687" cy="5155816"/>
            <a:chOff x="9101894" y="-42611"/>
            <a:chExt cx="729687" cy="5155816"/>
          </a:xfrm>
        </p:grpSpPr>
        <p:sp>
          <p:nvSpPr>
            <p:cNvPr id="35" name="Прямоугольник 34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234141" y="-42611"/>
              <a:ext cx="4074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Main</a:t>
              </a:r>
              <a:endParaRPr lang="ru-RU" sz="800" dirty="0"/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9101894" y="2320575"/>
              <a:ext cx="7296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Add.colours</a:t>
              </a:r>
              <a:endParaRPr lang="ru-RU" sz="800" dirty="0"/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5" r:id="rId1"/>
    <p:sldLayoutId id="2147484766" r:id="rId2"/>
    <p:sldLayoutId id="2147484767" r:id="rId3"/>
    <p:sldLayoutId id="2147484768" r:id="rId4"/>
    <p:sldLayoutId id="2147484769" r:id="rId5"/>
    <p:sldLayoutId id="2147484770" r:id="rId6"/>
    <p:sldLayoutId id="2147484771" r:id="rId7"/>
    <p:sldLayoutId id="21474847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14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вестиционная программа </a:t>
            </a:r>
            <a:br>
              <a:rPr lang="ru-RU" dirty="0"/>
            </a:br>
            <a:r>
              <a:rPr lang="ru-RU" dirty="0"/>
              <a:t>АО «ТГК-16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309421" y="4354067"/>
            <a:ext cx="139974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Август 2022 г.</a:t>
            </a:r>
          </a:p>
        </p:txBody>
      </p:sp>
    </p:spTree>
    <p:extLst>
      <p:ext uri="{BB962C8B-B14F-4D97-AF65-F5344CB8AC3E}">
        <p14:creationId xmlns:p14="http://schemas.microsoft.com/office/powerpoint/2010/main" val="937814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Овал 17"/>
          <p:cNvSpPr/>
          <p:nvPr/>
        </p:nvSpPr>
        <p:spPr bwMode="auto">
          <a:xfrm>
            <a:off x="434223" y="2605625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433193" y="2083289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517218" y="111993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3261988-29CF-4419-9B02-A8BB41021CE1}"/>
              </a:ext>
            </a:extLst>
          </p:cNvPr>
          <p:cNvCxnSpPr>
            <a:cxnSpLocks/>
          </p:cNvCxnSpPr>
          <p:nvPr/>
        </p:nvCxnSpPr>
        <p:spPr>
          <a:xfrm flipH="1">
            <a:off x="1072778" y="793245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47">
            <a:extLst>
              <a:ext uri="{FF2B5EF4-FFF2-40B4-BE49-F238E27FC236}">
                <a16:creationId xmlns:a16="http://schemas.microsoft.com/office/drawing/2014/main" id="{B8CDBDE1-51FF-4C60-BA60-FDC36EEF9AA1}"/>
              </a:ext>
            </a:extLst>
          </p:cNvPr>
          <p:cNvSpPr/>
          <p:nvPr/>
        </p:nvSpPr>
        <p:spPr>
          <a:xfrm>
            <a:off x="1073164" y="341799"/>
            <a:ext cx="7311962" cy="4154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Краткая характеристика предприятия: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 flipH="1">
            <a:off x="632462" y="1226820"/>
            <a:ext cx="5737858" cy="762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Объект 2">
            <a:extLst>
              <a:ext uri="{FF2B5EF4-FFF2-40B4-BE49-F238E27FC236}">
                <a16:creationId xmlns:a16="http://schemas.microsoft.com/office/drawing/2014/main" id="{146858E9-B75D-48D3-905D-40C888FBA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978" y="1004531"/>
            <a:ext cx="8317388" cy="3246741"/>
          </a:xfrm>
        </p:spPr>
        <p:txBody>
          <a:bodyPr>
            <a:noAutofit/>
          </a:bodyPr>
          <a:lstStyle/>
          <a:p>
            <a:pPr algn="just">
              <a:lnSpc>
                <a:spcPct val="120000"/>
              </a:lnSpc>
              <a:spcBef>
                <a:spcPts val="225"/>
              </a:spcBef>
            </a:pPr>
            <a:r>
              <a:rPr lang="ru-RU" sz="1200" dirty="0">
                <a:solidFill>
                  <a:schemeClr val="bg1"/>
                </a:solidFill>
              </a:rPr>
              <a:t>     </a:t>
            </a:r>
            <a:r>
              <a:rPr lang="ru-RU" sz="1200" kern="1200" dirty="0">
                <a:solidFill>
                  <a:schemeClr val="tx1"/>
                </a:solidFill>
              </a:rPr>
              <a:t>АО «ТГК-16» является генерирующим предприятием в составе СИБУР.</a:t>
            </a:r>
          </a:p>
          <a:p>
            <a:pPr algn="just">
              <a:lnSpc>
                <a:spcPct val="120000"/>
              </a:lnSpc>
              <a:spcBef>
                <a:spcPts val="225"/>
              </a:spcBef>
            </a:pPr>
            <a:r>
              <a:rPr lang="ru-RU" sz="1200" kern="1200" dirty="0">
                <a:solidFill>
                  <a:schemeClr val="tx1"/>
                </a:solidFill>
              </a:rPr>
              <a:t>     </a:t>
            </a:r>
            <a:r>
              <a:rPr lang="ru-RU" sz="1200" b="0" kern="1200" dirty="0">
                <a:solidFill>
                  <a:schemeClr val="tx1"/>
                </a:solidFill>
              </a:rPr>
              <a:t>В имущественный комплекс АО «ТГК-16» входят  Казанская ТЭЦ-3 и Нижнекамская ТЭЦ (ПТК-1), основным предназначением которых является энергообеспечение крупных промышленных узлов нефтегазохимического комплекса Республики Татарстан.</a:t>
            </a:r>
          </a:p>
          <a:p>
            <a:pPr algn="just">
              <a:lnSpc>
                <a:spcPct val="120000"/>
              </a:lnSpc>
              <a:spcBef>
                <a:spcPts val="225"/>
              </a:spcBef>
              <a:buFont typeface="Wingdings" panose="05000000000000000000" pitchFamily="2" charset="2"/>
              <a:buChar char="Ø"/>
            </a:pPr>
            <a:r>
              <a:rPr lang="ru-RU" sz="1200" kern="1200" dirty="0">
                <a:solidFill>
                  <a:schemeClr val="tx1"/>
                </a:solidFill>
              </a:rPr>
              <a:t> Казанская Теплоэлектроцентраль-3. </a:t>
            </a:r>
            <a:r>
              <a:rPr lang="ru-RU" sz="1200" b="0" kern="1200" dirty="0">
                <a:solidFill>
                  <a:schemeClr val="tx1"/>
                </a:solidFill>
              </a:rPr>
              <a:t>Сокращенное наименование: Казанская ТЭЦ-3  (КТЭЦ-3). Место нахождения: ул. Северо-Западная, д.1, г. Казань, Республика Татарстан, Российская Федерация, 420051.</a:t>
            </a:r>
          </a:p>
          <a:p>
            <a:pPr algn="just">
              <a:lnSpc>
                <a:spcPct val="120000"/>
              </a:lnSpc>
              <a:spcBef>
                <a:spcPts val="225"/>
              </a:spcBef>
              <a:buFont typeface="Wingdings" panose="05000000000000000000" pitchFamily="2" charset="2"/>
              <a:buChar char="Ø"/>
            </a:pPr>
            <a:r>
              <a:rPr lang="ru-RU" sz="1200" kern="1200" dirty="0">
                <a:solidFill>
                  <a:schemeClr val="tx1"/>
                </a:solidFill>
              </a:rPr>
              <a:t> Нижнекамская Теплоэлектроцентраль (ПТК-1). </a:t>
            </a:r>
            <a:r>
              <a:rPr lang="ru-RU" sz="1200" b="0" kern="1200" dirty="0">
                <a:solidFill>
                  <a:schemeClr val="tx1"/>
                </a:solidFill>
              </a:rPr>
              <a:t>Сокращенное наименование: Нижнекамская ТЭЦ (ПТК-1) (</a:t>
            </a:r>
            <a:r>
              <a:rPr lang="ru-RU" sz="1200" b="0" kern="1200" dirty="0" err="1">
                <a:solidFill>
                  <a:schemeClr val="tx1"/>
                </a:solidFill>
              </a:rPr>
              <a:t>НкТЭЦ</a:t>
            </a:r>
            <a:r>
              <a:rPr lang="ru-RU" sz="1200" b="0" kern="1200" dirty="0">
                <a:solidFill>
                  <a:schemeClr val="tx1"/>
                </a:solidFill>
              </a:rPr>
              <a:t> (ПТК-1)). Место нахождения: Промзона,  г. Нижнекамск, Республика Татарстан, Российская Федерация, 423570. </a:t>
            </a:r>
          </a:p>
          <a:p>
            <a:pPr algn="just">
              <a:lnSpc>
                <a:spcPct val="120000"/>
              </a:lnSpc>
              <a:spcBef>
                <a:spcPts val="225"/>
              </a:spcBef>
            </a:pPr>
            <a:endParaRPr lang="ru-RU" sz="1200" kern="1200" dirty="0">
              <a:solidFill>
                <a:schemeClr val="tx1"/>
              </a:solidFill>
            </a:endParaRPr>
          </a:p>
          <a:p>
            <a:pPr algn="just">
              <a:lnSpc>
                <a:spcPct val="120000"/>
              </a:lnSpc>
              <a:spcBef>
                <a:spcPts val="225"/>
              </a:spcBef>
            </a:pPr>
            <a:r>
              <a:rPr lang="ru-RU" sz="1200" kern="1200" dirty="0">
                <a:solidFill>
                  <a:schemeClr val="tx1"/>
                </a:solidFill>
              </a:rPr>
              <a:t>    </a:t>
            </a:r>
            <a:r>
              <a:rPr lang="ru-RU" sz="1200" b="0" kern="1200" dirty="0">
                <a:solidFill>
                  <a:schemeClr val="tx1"/>
                </a:solidFill>
              </a:rPr>
              <a:t>Установленная электрическая мощность генерирующих объектов АО «ТГК-16» составляет </a:t>
            </a:r>
            <a:r>
              <a:rPr lang="ru-RU" sz="1200" kern="1200" dirty="0">
                <a:solidFill>
                  <a:schemeClr val="tx1"/>
                </a:solidFill>
              </a:rPr>
              <a:t>1669,6 МВт, </a:t>
            </a:r>
            <a:r>
              <a:rPr lang="ru-RU" sz="1200" b="0" kern="1200" dirty="0">
                <a:solidFill>
                  <a:schemeClr val="tx1"/>
                </a:solidFill>
              </a:rPr>
              <a:t>установленная тепловая мощность значительна и достигает</a:t>
            </a:r>
            <a:r>
              <a:rPr lang="ru-RU" sz="1200" kern="1200" dirty="0">
                <a:solidFill>
                  <a:schemeClr val="tx1"/>
                </a:solidFill>
              </a:rPr>
              <a:t> 6136 Гкал/ч.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03261988-29CF-4419-9B02-A8BB41021CE1}"/>
              </a:ext>
            </a:extLst>
          </p:cNvPr>
          <p:cNvCxnSpPr>
            <a:cxnSpLocks/>
          </p:cNvCxnSpPr>
          <p:nvPr/>
        </p:nvCxnSpPr>
        <p:spPr>
          <a:xfrm flipH="1">
            <a:off x="517218" y="3924300"/>
            <a:ext cx="8302148" cy="762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B17C5D0-B390-4388-BECC-3B34073D1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1952" y="4755453"/>
            <a:ext cx="322438" cy="200733"/>
          </a:xfrm>
        </p:spPr>
        <p:txBody>
          <a:bodyPr/>
          <a:lstStyle/>
          <a:p>
            <a:fld id="{3E523BD4-82A3-45A5-840E-5A8E9E7619C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816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36">
            <a:extLst>
              <a:ext uri="{FF2B5EF4-FFF2-40B4-BE49-F238E27FC236}">
                <a16:creationId xmlns:a16="http://schemas.microsoft.com/office/drawing/2014/main" id="{527C0797-511E-4D94-8BDA-2BCCB8E7AC70}"/>
              </a:ext>
            </a:extLst>
          </p:cNvPr>
          <p:cNvSpPr/>
          <p:nvPr/>
        </p:nvSpPr>
        <p:spPr>
          <a:xfrm rot="10800000">
            <a:off x="-6940" y="1369219"/>
            <a:ext cx="1080103" cy="2707343"/>
          </a:xfrm>
          <a:custGeom>
            <a:avLst/>
            <a:gdLst>
              <a:gd name="connsiteX0" fmla="*/ 0 w 4045952"/>
              <a:gd name="connsiteY0" fmla="*/ 2022976 h 4045952"/>
              <a:gd name="connsiteX1" fmla="*/ 2022976 w 4045952"/>
              <a:gd name="connsiteY1" fmla="*/ 0 h 4045952"/>
              <a:gd name="connsiteX2" fmla="*/ 4045952 w 4045952"/>
              <a:gd name="connsiteY2" fmla="*/ 2022976 h 4045952"/>
              <a:gd name="connsiteX3" fmla="*/ 2022976 w 4045952"/>
              <a:gd name="connsiteY3" fmla="*/ 4045952 h 4045952"/>
              <a:gd name="connsiteX4" fmla="*/ 0 w 4045952"/>
              <a:gd name="connsiteY4" fmla="*/ 2022976 h 4045952"/>
              <a:gd name="connsiteX0" fmla="*/ 4045952 w 4137392"/>
              <a:gd name="connsiteY0" fmla="*/ 2022976 h 4045952"/>
              <a:gd name="connsiteX1" fmla="*/ 2022976 w 4137392"/>
              <a:gd name="connsiteY1" fmla="*/ 4045952 h 4045952"/>
              <a:gd name="connsiteX2" fmla="*/ 0 w 4137392"/>
              <a:gd name="connsiteY2" fmla="*/ 2022976 h 4045952"/>
              <a:gd name="connsiteX3" fmla="*/ 2022976 w 4137392"/>
              <a:gd name="connsiteY3" fmla="*/ 0 h 4045952"/>
              <a:gd name="connsiteX4" fmla="*/ 4137392 w 4137392"/>
              <a:gd name="connsiteY4" fmla="*/ 2114416 h 4045952"/>
              <a:gd name="connsiteX0" fmla="*/ 4045952 w 4045952"/>
              <a:gd name="connsiteY0" fmla="*/ 2022976 h 4045952"/>
              <a:gd name="connsiteX1" fmla="*/ 2022976 w 4045952"/>
              <a:gd name="connsiteY1" fmla="*/ 4045952 h 4045952"/>
              <a:gd name="connsiteX2" fmla="*/ 0 w 4045952"/>
              <a:gd name="connsiteY2" fmla="*/ 2022976 h 4045952"/>
              <a:gd name="connsiteX3" fmla="*/ 2022976 w 4045952"/>
              <a:gd name="connsiteY3" fmla="*/ 0 h 4045952"/>
              <a:gd name="connsiteX0" fmla="*/ 2022976 w 2022976"/>
              <a:gd name="connsiteY0" fmla="*/ 4045952 h 4045952"/>
              <a:gd name="connsiteX1" fmla="*/ 0 w 2022976"/>
              <a:gd name="connsiteY1" fmla="*/ 2022976 h 4045952"/>
              <a:gd name="connsiteX2" fmla="*/ 2022976 w 2022976"/>
              <a:gd name="connsiteY2" fmla="*/ 0 h 4045952"/>
              <a:gd name="connsiteX0" fmla="*/ 2028559 w 2028559"/>
              <a:gd name="connsiteY0" fmla="*/ 4126993 h 4126993"/>
              <a:gd name="connsiteX1" fmla="*/ 5583 w 2028559"/>
              <a:gd name="connsiteY1" fmla="*/ 2104017 h 4126993"/>
              <a:gd name="connsiteX2" fmla="*/ 1445300 w 2028559"/>
              <a:gd name="connsiteY2" fmla="*/ 173879 h 4126993"/>
              <a:gd name="connsiteX3" fmla="*/ 2028559 w 2028559"/>
              <a:gd name="connsiteY3" fmla="*/ 81041 h 4126993"/>
              <a:gd name="connsiteX0" fmla="*/ 2028559 w 2028559"/>
              <a:gd name="connsiteY0" fmla="*/ 4045952 h 4045952"/>
              <a:gd name="connsiteX1" fmla="*/ 5583 w 2028559"/>
              <a:gd name="connsiteY1" fmla="*/ 2022976 h 4045952"/>
              <a:gd name="connsiteX2" fmla="*/ 1445300 w 2028559"/>
              <a:gd name="connsiteY2" fmla="*/ 92838 h 4045952"/>
              <a:gd name="connsiteX3" fmla="*/ 2028559 w 2028559"/>
              <a:gd name="connsiteY3" fmla="*/ 0 h 4045952"/>
              <a:gd name="connsiteX0" fmla="*/ 2029800 w 2029800"/>
              <a:gd name="connsiteY0" fmla="*/ 4045952 h 4045952"/>
              <a:gd name="connsiteX1" fmla="*/ 6824 w 2029800"/>
              <a:gd name="connsiteY1" fmla="*/ 2022976 h 4045952"/>
              <a:gd name="connsiteX2" fmla="*/ 1446541 w 2029800"/>
              <a:gd name="connsiteY2" fmla="*/ 92838 h 4045952"/>
              <a:gd name="connsiteX3" fmla="*/ 2029800 w 2029800"/>
              <a:gd name="connsiteY3" fmla="*/ 0 h 4045952"/>
              <a:gd name="connsiteX0" fmla="*/ 2032342 w 2032342"/>
              <a:gd name="connsiteY0" fmla="*/ 4045952 h 4045952"/>
              <a:gd name="connsiteX1" fmla="*/ 9366 w 2032342"/>
              <a:gd name="connsiteY1" fmla="*/ 2022976 h 4045952"/>
              <a:gd name="connsiteX2" fmla="*/ 1449083 w 2032342"/>
              <a:gd name="connsiteY2" fmla="*/ 92838 h 4045952"/>
              <a:gd name="connsiteX3" fmla="*/ 2032342 w 2032342"/>
              <a:gd name="connsiteY3" fmla="*/ 0 h 4045952"/>
              <a:gd name="connsiteX0" fmla="*/ 2034028 w 2034028"/>
              <a:gd name="connsiteY0" fmla="*/ 4045952 h 4045952"/>
              <a:gd name="connsiteX1" fmla="*/ 11052 w 2034028"/>
              <a:gd name="connsiteY1" fmla="*/ 2022976 h 4045952"/>
              <a:gd name="connsiteX2" fmla="*/ 1450769 w 2034028"/>
              <a:gd name="connsiteY2" fmla="*/ 92838 h 4045952"/>
              <a:gd name="connsiteX3" fmla="*/ 2034028 w 2034028"/>
              <a:gd name="connsiteY3" fmla="*/ 0 h 4045952"/>
              <a:gd name="connsiteX0" fmla="*/ 2033317 w 2033317"/>
              <a:gd name="connsiteY0" fmla="*/ 4045952 h 4045952"/>
              <a:gd name="connsiteX1" fmla="*/ 10341 w 2033317"/>
              <a:gd name="connsiteY1" fmla="*/ 2022976 h 4045952"/>
              <a:gd name="connsiteX2" fmla="*/ 1450058 w 2033317"/>
              <a:gd name="connsiteY2" fmla="*/ 92838 h 4045952"/>
              <a:gd name="connsiteX3" fmla="*/ 2033317 w 2033317"/>
              <a:gd name="connsiteY3" fmla="*/ 0 h 4045952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1440632 w 2033317"/>
              <a:gd name="connsiteY0" fmla="*/ 3967254 h 3967254"/>
              <a:gd name="connsiteX1" fmla="*/ 10341 w 2033317"/>
              <a:gd name="connsiteY1" fmla="*/ 2022976 h 3967254"/>
              <a:gd name="connsiteX2" fmla="*/ 1450058 w 2033317"/>
              <a:gd name="connsiteY2" fmla="*/ 92838 h 3967254"/>
              <a:gd name="connsiteX3" fmla="*/ 2033317 w 2033317"/>
              <a:gd name="connsiteY3" fmla="*/ 0 h 3967254"/>
              <a:gd name="connsiteX0" fmla="*/ 1440632 w 1450058"/>
              <a:gd name="connsiteY0" fmla="*/ 3874416 h 3874416"/>
              <a:gd name="connsiteX1" fmla="*/ 10341 w 1450058"/>
              <a:gd name="connsiteY1" fmla="*/ 1930138 h 3874416"/>
              <a:gd name="connsiteX2" fmla="*/ 1450058 w 1450058"/>
              <a:gd name="connsiteY2" fmla="*/ 0 h 3874416"/>
              <a:gd name="connsiteX0" fmla="*/ 1430381 w 1439807"/>
              <a:gd name="connsiteY0" fmla="*/ 3874416 h 3874416"/>
              <a:gd name="connsiteX1" fmla="*/ 90 w 1439807"/>
              <a:gd name="connsiteY1" fmla="*/ 1930138 h 3874416"/>
              <a:gd name="connsiteX2" fmla="*/ 1439807 w 1439807"/>
              <a:gd name="connsiteY2" fmla="*/ 0 h 3874416"/>
              <a:gd name="connsiteX0" fmla="*/ 1430711 w 1440137"/>
              <a:gd name="connsiteY0" fmla="*/ 3874416 h 3874416"/>
              <a:gd name="connsiteX1" fmla="*/ 420 w 1440137"/>
              <a:gd name="connsiteY1" fmla="*/ 1930138 h 3874416"/>
              <a:gd name="connsiteX2" fmla="*/ 1440137 w 1440137"/>
              <a:gd name="connsiteY2" fmla="*/ 0 h 3874416"/>
              <a:gd name="connsiteX0" fmla="*/ 1430711 w 1440137"/>
              <a:gd name="connsiteY0" fmla="*/ 3874416 h 3874416"/>
              <a:gd name="connsiteX1" fmla="*/ 420 w 1440137"/>
              <a:gd name="connsiteY1" fmla="*/ 1930138 h 3874416"/>
              <a:gd name="connsiteX2" fmla="*/ 1440137 w 1440137"/>
              <a:gd name="connsiteY2" fmla="*/ 0 h 3874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137" h="3874416">
                <a:moveTo>
                  <a:pt x="1430711" y="3874416"/>
                </a:moveTo>
                <a:cubicBezTo>
                  <a:pt x="452526" y="3678656"/>
                  <a:pt x="17703" y="2670142"/>
                  <a:pt x="420" y="1930138"/>
                </a:cubicBezTo>
                <a:cubicBezTo>
                  <a:pt x="-16863" y="1190134"/>
                  <a:pt x="499659" y="271176"/>
                  <a:pt x="1440137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25">
              <a:latin typeface="Open Sans" panose="020B0606030504020204"/>
            </a:endParaRPr>
          </a:p>
        </p:txBody>
      </p:sp>
      <p:sp>
        <p:nvSpPr>
          <p:cNvPr id="7" name="Oval 24">
            <a:extLst>
              <a:ext uri="{FF2B5EF4-FFF2-40B4-BE49-F238E27FC236}">
                <a16:creationId xmlns:a16="http://schemas.microsoft.com/office/drawing/2014/main" id="{14513FB4-E854-4402-827D-AF2A022F2DA3}"/>
              </a:ext>
            </a:extLst>
          </p:cNvPr>
          <p:cNvSpPr/>
          <p:nvPr/>
        </p:nvSpPr>
        <p:spPr>
          <a:xfrm rot="10800000">
            <a:off x="-6658" y="1763733"/>
            <a:ext cx="725308" cy="1897957"/>
          </a:xfrm>
          <a:custGeom>
            <a:avLst/>
            <a:gdLst>
              <a:gd name="connsiteX0" fmla="*/ 0 w 3058264"/>
              <a:gd name="connsiteY0" fmla="*/ 1529132 h 3058264"/>
              <a:gd name="connsiteX1" fmla="*/ 1529132 w 3058264"/>
              <a:gd name="connsiteY1" fmla="*/ 0 h 3058264"/>
              <a:gd name="connsiteX2" fmla="*/ 3058264 w 3058264"/>
              <a:gd name="connsiteY2" fmla="*/ 1529132 h 3058264"/>
              <a:gd name="connsiteX3" fmla="*/ 1529132 w 3058264"/>
              <a:gd name="connsiteY3" fmla="*/ 3058264 h 3058264"/>
              <a:gd name="connsiteX4" fmla="*/ 0 w 3058264"/>
              <a:gd name="connsiteY4" fmla="*/ 1529132 h 3058264"/>
              <a:gd name="connsiteX0" fmla="*/ 3058264 w 3149704"/>
              <a:gd name="connsiteY0" fmla="*/ 1529132 h 3058264"/>
              <a:gd name="connsiteX1" fmla="*/ 1529132 w 3149704"/>
              <a:gd name="connsiteY1" fmla="*/ 3058264 h 3058264"/>
              <a:gd name="connsiteX2" fmla="*/ 0 w 3149704"/>
              <a:gd name="connsiteY2" fmla="*/ 1529132 h 3058264"/>
              <a:gd name="connsiteX3" fmla="*/ 1529132 w 3149704"/>
              <a:gd name="connsiteY3" fmla="*/ 0 h 3058264"/>
              <a:gd name="connsiteX4" fmla="*/ 3149704 w 3149704"/>
              <a:gd name="connsiteY4" fmla="*/ 1620572 h 3058264"/>
              <a:gd name="connsiteX0" fmla="*/ 3058264 w 3058264"/>
              <a:gd name="connsiteY0" fmla="*/ 1529132 h 3058264"/>
              <a:gd name="connsiteX1" fmla="*/ 1529132 w 3058264"/>
              <a:gd name="connsiteY1" fmla="*/ 3058264 h 3058264"/>
              <a:gd name="connsiteX2" fmla="*/ 0 w 3058264"/>
              <a:gd name="connsiteY2" fmla="*/ 1529132 h 3058264"/>
              <a:gd name="connsiteX3" fmla="*/ 1529132 w 3058264"/>
              <a:gd name="connsiteY3" fmla="*/ 0 h 3058264"/>
              <a:gd name="connsiteX0" fmla="*/ 1529132 w 1529132"/>
              <a:gd name="connsiteY0" fmla="*/ 3058264 h 3058264"/>
              <a:gd name="connsiteX1" fmla="*/ 0 w 1529132"/>
              <a:gd name="connsiteY1" fmla="*/ 1529132 h 3058264"/>
              <a:gd name="connsiteX2" fmla="*/ 1529132 w 1529132"/>
              <a:gd name="connsiteY2" fmla="*/ 0 h 3058264"/>
              <a:gd name="connsiteX0" fmla="*/ 1550794 w 1550794"/>
              <a:gd name="connsiteY0" fmla="*/ 2945142 h 2945142"/>
              <a:gd name="connsiteX1" fmla="*/ 21662 w 1550794"/>
              <a:gd name="connsiteY1" fmla="*/ 1416010 h 2945142"/>
              <a:gd name="connsiteX2" fmla="*/ 975759 w 1550794"/>
              <a:gd name="connsiteY2" fmla="*/ 0 h 2945142"/>
              <a:gd name="connsiteX0" fmla="*/ 1541226 w 1541226"/>
              <a:gd name="connsiteY0" fmla="*/ 2945142 h 2945142"/>
              <a:gd name="connsiteX1" fmla="*/ 12094 w 1541226"/>
              <a:gd name="connsiteY1" fmla="*/ 1416010 h 2945142"/>
              <a:gd name="connsiteX2" fmla="*/ 966191 w 1541226"/>
              <a:gd name="connsiteY2" fmla="*/ 0 h 2945142"/>
              <a:gd name="connsiteX0" fmla="*/ 972970 w 972970"/>
              <a:gd name="connsiteY0" fmla="*/ 2907434 h 2907434"/>
              <a:gd name="connsiteX1" fmla="*/ 19 w 972970"/>
              <a:gd name="connsiteY1" fmla="*/ 1416010 h 2907434"/>
              <a:gd name="connsiteX2" fmla="*/ 954116 w 972970"/>
              <a:gd name="connsiteY2" fmla="*/ 0 h 2907434"/>
              <a:gd name="connsiteX0" fmla="*/ 972970 w 972970"/>
              <a:gd name="connsiteY0" fmla="*/ 2907434 h 2907434"/>
              <a:gd name="connsiteX1" fmla="*/ 19 w 972970"/>
              <a:gd name="connsiteY1" fmla="*/ 1416010 h 2907434"/>
              <a:gd name="connsiteX2" fmla="*/ 954116 w 972970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82428 w 982428"/>
              <a:gd name="connsiteY0" fmla="*/ 2907434 h 2907434"/>
              <a:gd name="connsiteX1" fmla="*/ 50 w 982428"/>
              <a:gd name="connsiteY1" fmla="*/ 1510278 h 2907434"/>
              <a:gd name="connsiteX2" fmla="*/ 963574 w 982428"/>
              <a:gd name="connsiteY2" fmla="*/ 0 h 290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2428" h="2907434">
                <a:moveTo>
                  <a:pt x="982428" y="2907434"/>
                </a:moveTo>
                <a:cubicBezTo>
                  <a:pt x="251033" y="2586923"/>
                  <a:pt x="3192" y="1928863"/>
                  <a:pt x="50" y="1510278"/>
                </a:cubicBezTo>
                <a:cubicBezTo>
                  <a:pt x="-3092" y="1091693"/>
                  <a:pt x="137912" y="348793"/>
                  <a:pt x="963574" y="0"/>
                </a:cubicBezTo>
              </a:path>
            </a:pathLst>
          </a:custGeom>
          <a:solidFill>
            <a:srgbClr val="1D8F8F"/>
          </a:solidFill>
          <a:ln w="1270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25" dirty="0">
              <a:latin typeface="Open Sans" panose="020B0606030504020204"/>
            </a:endParaRPr>
          </a:p>
        </p:txBody>
      </p:sp>
      <p:cxnSp>
        <p:nvCxnSpPr>
          <p:cNvPr id="8" name="Straight Connector 30">
            <a:extLst>
              <a:ext uri="{FF2B5EF4-FFF2-40B4-BE49-F238E27FC236}">
                <a16:creationId xmlns:a16="http://schemas.microsoft.com/office/drawing/2014/main" id="{23A772D1-DDEB-4100-A61E-D7CEB2C20B61}"/>
              </a:ext>
            </a:extLst>
          </p:cNvPr>
          <p:cNvCxnSpPr>
            <a:cxnSpLocks/>
          </p:cNvCxnSpPr>
          <p:nvPr/>
        </p:nvCxnSpPr>
        <p:spPr>
          <a:xfrm flipH="1">
            <a:off x="353897" y="1704130"/>
            <a:ext cx="1140073" cy="0"/>
          </a:xfrm>
          <a:prstGeom prst="line">
            <a:avLst/>
          </a:prstGeom>
          <a:ln>
            <a:solidFill>
              <a:srgbClr val="80808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27">
            <a:extLst>
              <a:ext uri="{FF2B5EF4-FFF2-40B4-BE49-F238E27FC236}">
                <a16:creationId xmlns:a16="http://schemas.microsoft.com/office/drawing/2014/main" id="{A8E2474E-9820-479F-8987-3F40190A9DD8}"/>
              </a:ext>
            </a:extLst>
          </p:cNvPr>
          <p:cNvSpPr/>
          <p:nvPr/>
        </p:nvSpPr>
        <p:spPr>
          <a:xfrm>
            <a:off x="1174975" y="1482013"/>
            <a:ext cx="424902" cy="424902"/>
          </a:xfrm>
          <a:prstGeom prst="ellipse">
            <a:avLst/>
          </a:prstGeom>
          <a:solidFill>
            <a:srgbClr val="6FD0C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1</a:t>
            </a:r>
          </a:p>
        </p:txBody>
      </p:sp>
      <p:cxnSp>
        <p:nvCxnSpPr>
          <p:cNvPr id="10" name="Straight Connector 30">
            <a:extLst>
              <a:ext uri="{FF2B5EF4-FFF2-40B4-BE49-F238E27FC236}">
                <a16:creationId xmlns:a16="http://schemas.microsoft.com/office/drawing/2014/main" id="{1E842BD6-1BAD-47D5-BA04-3E388A509CAB}"/>
              </a:ext>
            </a:extLst>
          </p:cNvPr>
          <p:cNvCxnSpPr>
            <a:cxnSpLocks/>
          </p:cNvCxnSpPr>
          <p:nvPr/>
        </p:nvCxnSpPr>
        <p:spPr>
          <a:xfrm flipH="1">
            <a:off x="937457" y="2731900"/>
            <a:ext cx="449969" cy="0"/>
          </a:xfrm>
          <a:prstGeom prst="line">
            <a:avLst/>
          </a:prstGeom>
          <a:ln>
            <a:solidFill>
              <a:srgbClr val="0DAFB1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27">
            <a:extLst>
              <a:ext uri="{FF2B5EF4-FFF2-40B4-BE49-F238E27FC236}">
                <a16:creationId xmlns:a16="http://schemas.microsoft.com/office/drawing/2014/main" id="{8B5645E9-8BD2-47D9-B61E-9825889D6E63}"/>
              </a:ext>
            </a:extLst>
          </p:cNvPr>
          <p:cNvSpPr/>
          <p:nvPr/>
        </p:nvSpPr>
        <p:spPr>
          <a:xfrm>
            <a:off x="1205433" y="2515034"/>
            <a:ext cx="424902" cy="424902"/>
          </a:xfrm>
          <a:prstGeom prst="ellipse">
            <a:avLst/>
          </a:prstGeom>
          <a:solidFill>
            <a:srgbClr val="0DAFB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2</a:t>
            </a:r>
            <a:endParaRPr lang="en-IN" b="1" dirty="0"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" name="Straight Connector 30">
            <a:extLst>
              <a:ext uri="{FF2B5EF4-FFF2-40B4-BE49-F238E27FC236}">
                <a16:creationId xmlns:a16="http://schemas.microsoft.com/office/drawing/2014/main" id="{01DB51FE-048B-4E64-AE95-8A8A216C9B82}"/>
              </a:ext>
            </a:extLst>
          </p:cNvPr>
          <p:cNvCxnSpPr>
            <a:cxnSpLocks/>
          </p:cNvCxnSpPr>
          <p:nvPr/>
        </p:nvCxnSpPr>
        <p:spPr>
          <a:xfrm flipH="1">
            <a:off x="387427" y="3725779"/>
            <a:ext cx="1010924" cy="0"/>
          </a:xfrm>
          <a:prstGeom prst="line">
            <a:avLst/>
          </a:prstGeom>
          <a:ln>
            <a:solidFill>
              <a:srgbClr val="1D8F8F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27">
            <a:extLst>
              <a:ext uri="{FF2B5EF4-FFF2-40B4-BE49-F238E27FC236}">
                <a16:creationId xmlns:a16="http://schemas.microsoft.com/office/drawing/2014/main" id="{08B4DFA0-29B6-4F3F-84DE-9F93CFD113F6}"/>
              </a:ext>
            </a:extLst>
          </p:cNvPr>
          <p:cNvSpPr/>
          <p:nvPr/>
        </p:nvSpPr>
        <p:spPr>
          <a:xfrm>
            <a:off x="1177967" y="3525629"/>
            <a:ext cx="424902" cy="424902"/>
          </a:xfrm>
          <a:prstGeom prst="ellipse">
            <a:avLst/>
          </a:prstGeom>
          <a:solidFill>
            <a:srgbClr val="1D8F8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3</a:t>
            </a:r>
            <a:endParaRPr lang="en-IN" b="1" dirty="0"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50">
            <a:extLst>
              <a:ext uri="{FF2B5EF4-FFF2-40B4-BE49-F238E27FC236}">
                <a16:creationId xmlns:a16="http://schemas.microsoft.com/office/drawing/2014/main" id="{A3D43A42-5AED-4382-882A-9D29AE2EE85C}"/>
              </a:ext>
            </a:extLst>
          </p:cNvPr>
          <p:cNvSpPr/>
          <p:nvPr/>
        </p:nvSpPr>
        <p:spPr>
          <a:xfrm>
            <a:off x="1877326" y="1279390"/>
            <a:ext cx="5703638" cy="784830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r>
              <a:rPr lang="ru-RU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беспечение надежной и бесперебойной работы оборудования станций, энергоснабжение потребителей энергоресурсами в необходимом количестве и требуемого качества.</a:t>
            </a:r>
          </a:p>
        </p:txBody>
      </p:sp>
      <p:sp>
        <p:nvSpPr>
          <p:cNvPr id="21" name="Rectangle 53">
            <a:extLst>
              <a:ext uri="{FF2B5EF4-FFF2-40B4-BE49-F238E27FC236}">
                <a16:creationId xmlns:a16="http://schemas.microsoft.com/office/drawing/2014/main" id="{E51C14E8-97F0-4AC9-BEF3-1801CC9C1AEA}"/>
              </a:ext>
            </a:extLst>
          </p:cNvPr>
          <p:cNvSpPr/>
          <p:nvPr/>
        </p:nvSpPr>
        <p:spPr>
          <a:xfrm>
            <a:off x="1896029" y="2503492"/>
            <a:ext cx="5825966" cy="5539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r>
              <a:rPr lang="ru-RU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Энергосбережение и повышение энергетической эффективности.</a:t>
            </a:r>
          </a:p>
        </p:txBody>
      </p:sp>
      <p:grpSp>
        <p:nvGrpSpPr>
          <p:cNvPr id="23" name="Group 45">
            <a:extLst>
              <a:ext uri="{FF2B5EF4-FFF2-40B4-BE49-F238E27FC236}">
                <a16:creationId xmlns:a16="http://schemas.microsoft.com/office/drawing/2014/main" id="{B8D9AE08-25FE-4E1C-8616-7C4870E23497}"/>
              </a:ext>
            </a:extLst>
          </p:cNvPr>
          <p:cNvGrpSpPr/>
          <p:nvPr/>
        </p:nvGrpSpPr>
        <p:grpSpPr>
          <a:xfrm>
            <a:off x="1878725" y="3496764"/>
            <a:ext cx="5391366" cy="790324"/>
            <a:chOff x="7198017" y="2455073"/>
            <a:chExt cx="4321730" cy="1013651"/>
          </a:xfrm>
        </p:grpSpPr>
        <p:sp>
          <p:nvSpPr>
            <p:cNvPr id="24" name="Rectangle 42">
              <a:extLst>
                <a:ext uri="{FF2B5EF4-FFF2-40B4-BE49-F238E27FC236}">
                  <a16:creationId xmlns:a16="http://schemas.microsoft.com/office/drawing/2014/main" id="{DBA79CD8-4A9E-4554-BB42-76FAB0D810ED}"/>
                </a:ext>
              </a:extLst>
            </p:cNvPr>
            <p:cNvSpPr/>
            <p:nvPr/>
          </p:nvSpPr>
          <p:spPr>
            <a:xfrm>
              <a:off x="7198017" y="2455073"/>
              <a:ext cx="3888638" cy="710545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r>
                <a:rPr lang="ru-RU" dirty="0">
                  <a:solidFill>
                    <a:schemeClr val="accent4">
                      <a:lumMod val="50000"/>
                    </a:schemeClr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Расширение и развитие производственных мощностей.</a:t>
              </a:r>
            </a:p>
          </p:txBody>
        </p:sp>
        <p:sp>
          <p:nvSpPr>
            <p:cNvPr id="25" name="Rectangle 44">
              <a:extLst>
                <a:ext uri="{FF2B5EF4-FFF2-40B4-BE49-F238E27FC236}">
                  <a16:creationId xmlns:a16="http://schemas.microsoft.com/office/drawing/2014/main" id="{88BF299E-6DEA-4DB4-9040-30598A5A8C46}"/>
                </a:ext>
              </a:extLst>
            </p:cNvPr>
            <p:cNvSpPr/>
            <p:nvPr/>
          </p:nvSpPr>
          <p:spPr>
            <a:xfrm>
              <a:off x="9106390" y="3083846"/>
              <a:ext cx="2413357" cy="384878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pPr algn="r"/>
              <a:endParaRPr lang="en-IN" sz="1350" b="1" dirty="0">
                <a:solidFill>
                  <a:srgbClr val="C4C4C4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Rectangle 48">
            <a:extLst>
              <a:ext uri="{FF2B5EF4-FFF2-40B4-BE49-F238E27FC236}">
                <a16:creationId xmlns:a16="http://schemas.microsoft.com/office/drawing/2014/main" id="{78AF1436-F08F-466C-A4D3-8FCB13CF3A79}"/>
              </a:ext>
            </a:extLst>
          </p:cNvPr>
          <p:cNvSpPr/>
          <p:nvPr/>
        </p:nvSpPr>
        <p:spPr>
          <a:xfrm>
            <a:off x="3255928" y="448060"/>
            <a:ext cx="5416568" cy="30008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r"/>
            <a:endParaRPr lang="en-IN" sz="135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30">
            <a:extLst>
              <a:ext uri="{FF2B5EF4-FFF2-40B4-BE49-F238E27FC236}">
                <a16:creationId xmlns:a16="http://schemas.microsoft.com/office/drawing/2014/main" id="{79A0F9BD-DC3E-4B04-BC98-C5A062BC22CD}"/>
              </a:ext>
            </a:extLst>
          </p:cNvPr>
          <p:cNvCxnSpPr>
            <a:cxnSpLocks/>
          </p:cNvCxnSpPr>
          <p:nvPr/>
        </p:nvCxnSpPr>
        <p:spPr>
          <a:xfrm>
            <a:off x="1751915" y="1380050"/>
            <a:ext cx="0" cy="2685678"/>
          </a:xfrm>
          <a:prstGeom prst="line">
            <a:avLst/>
          </a:prstGeom>
          <a:ln>
            <a:solidFill>
              <a:srgbClr val="1D8F8F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A1B08C31-5864-466C-B188-553FAE82BA31}"/>
              </a:ext>
            </a:extLst>
          </p:cNvPr>
          <p:cNvCxnSpPr/>
          <p:nvPr/>
        </p:nvCxnSpPr>
        <p:spPr>
          <a:xfrm flipH="1">
            <a:off x="1878725" y="2211287"/>
            <a:ext cx="1985297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5E02A8F0-F99F-4836-9B02-9B14F64474AA}"/>
              </a:ext>
            </a:extLst>
          </p:cNvPr>
          <p:cNvCxnSpPr/>
          <p:nvPr/>
        </p:nvCxnSpPr>
        <p:spPr>
          <a:xfrm flipH="1">
            <a:off x="1878726" y="3366919"/>
            <a:ext cx="1985297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BDBF9378-9C6E-49D8-BE0D-385A9FECE3ED}"/>
              </a:ext>
            </a:extLst>
          </p:cNvPr>
          <p:cNvCxnSpPr>
            <a:cxnSpLocks/>
          </p:cNvCxnSpPr>
          <p:nvPr/>
        </p:nvCxnSpPr>
        <p:spPr>
          <a:xfrm flipH="1">
            <a:off x="1185900" y="4386164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47">
            <a:extLst>
              <a:ext uri="{FF2B5EF4-FFF2-40B4-BE49-F238E27FC236}">
                <a16:creationId xmlns:a16="http://schemas.microsoft.com/office/drawing/2014/main" id="{AEE7F168-E4AE-497A-87CE-AC1D372E8061}"/>
              </a:ext>
            </a:extLst>
          </p:cNvPr>
          <p:cNvSpPr/>
          <p:nvPr/>
        </p:nvSpPr>
        <p:spPr>
          <a:xfrm>
            <a:off x="1073164" y="341799"/>
            <a:ext cx="7311962" cy="4154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Цели инвестиционной программы: </a:t>
            </a: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6AEA7709-C9EA-45E1-AB26-C384F907D282}"/>
              </a:ext>
            </a:extLst>
          </p:cNvPr>
          <p:cNvCxnSpPr>
            <a:cxnSpLocks/>
          </p:cNvCxnSpPr>
          <p:nvPr/>
        </p:nvCxnSpPr>
        <p:spPr>
          <a:xfrm flipH="1">
            <a:off x="1185900" y="885688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88DF1C2-BDAD-4F51-81DE-0E2D8E8FA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6561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C61599-7848-405F-B387-6AA2C7313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090" y="124240"/>
            <a:ext cx="7886700" cy="994172"/>
          </a:xfrm>
        </p:spPr>
        <p:txBody>
          <a:bodyPr>
            <a:noAutofit/>
          </a:bodyPr>
          <a:lstStyle/>
          <a:p>
            <a:pPr algn="ctr"/>
            <a:r>
              <a:rPr lang="ru-RU" kern="1200" dirty="0"/>
              <a:t>Итоги реализации Инвестиционной программы                             АО «ТГК-16» за 2021 год</a:t>
            </a:r>
          </a:p>
        </p:txBody>
      </p:sp>
      <p:graphicFrame>
        <p:nvGraphicFramePr>
          <p:cNvPr id="8" name="Объект 7">
            <a:extLst>
              <a:ext uri="{FF2B5EF4-FFF2-40B4-BE49-F238E27FC236}">
                <a16:creationId xmlns:a16="http://schemas.microsoft.com/office/drawing/2014/main" id="{24BCD992-AAC3-4DCD-9AD0-7E22719490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7358404"/>
              </p:ext>
            </p:extLst>
          </p:nvPr>
        </p:nvGraphicFramePr>
        <p:xfrm>
          <a:off x="117157" y="778936"/>
          <a:ext cx="8736806" cy="423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35D2970-1A4E-49BF-AC0F-E9348E0ED1BE}"/>
              </a:ext>
            </a:extLst>
          </p:cNvPr>
          <p:cNvSpPr txBox="1"/>
          <p:nvPr/>
        </p:nvSpPr>
        <p:spPr>
          <a:xfrm>
            <a:off x="2030160" y="2296928"/>
            <a:ext cx="612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361,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3F0DF1-28A4-48EB-A693-5EE0060D1F25}"/>
              </a:ext>
            </a:extLst>
          </p:cNvPr>
          <p:cNvSpPr txBox="1"/>
          <p:nvPr/>
        </p:nvSpPr>
        <p:spPr>
          <a:xfrm>
            <a:off x="2046445" y="3668622"/>
            <a:ext cx="612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38,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83A59E-ED9F-499F-860E-33046B176E5B}"/>
              </a:ext>
            </a:extLst>
          </p:cNvPr>
          <p:cNvSpPr txBox="1"/>
          <p:nvPr/>
        </p:nvSpPr>
        <p:spPr>
          <a:xfrm>
            <a:off x="4795440" y="2341644"/>
            <a:ext cx="612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262,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E2F1AB-4150-4D5C-99FE-90DFA714B9A3}"/>
              </a:ext>
            </a:extLst>
          </p:cNvPr>
          <p:cNvSpPr txBox="1"/>
          <p:nvPr/>
        </p:nvSpPr>
        <p:spPr>
          <a:xfrm>
            <a:off x="4853939" y="3752443"/>
            <a:ext cx="612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26,7</a:t>
            </a:r>
          </a:p>
        </p:txBody>
      </p:sp>
      <p:sp>
        <p:nvSpPr>
          <p:cNvPr id="15" name="TextBox 1">
            <a:extLst>
              <a:ext uri="{FF2B5EF4-FFF2-40B4-BE49-F238E27FC236}">
                <a16:creationId xmlns:a16="http://schemas.microsoft.com/office/drawing/2014/main" id="{12D3E139-8E63-4A40-B5A8-2C8C607E6106}"/>
              </a:ext>
            </a:extLst>
          </p:cNvPr>
          <p:cNvSpPr txBox="1"/>
          <p:nvPr/>
        </p:nvSpPr>
        <p:spPr>
          <a:xfrm rot="16200000">
            <a:off x="4939856" y="2924228"/>
            <a:ext cx="1286036" cy="2786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825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млн. руб. без НДС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D2BE9257-69ED-497D-B21E-29D56ECAE7DB}"/>
              </a:ext>
            </a:extLst>
          </p:cNvPr>
          <p:cNvSpPr txBox="1"/>
          <p:nvPr/>
        </p:nvSpPr>
        <p:spPr>
          <a:xfrm rot="19344921">
            <a:off x="478345" y="1165520"/>
            <a:ext cx="1012826" cy="26254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825" dirty="0">
                <a:solidFill>
                  <a:schemeClr val="bg2">
                    <a:lumMod val="25000"/>
                  </a:schemeClr>
                </a:solidFill>
                <a:effectLst>
                  <a:outerShdw blurRad="50800" dist="50800" dir="5400000" algn="ctr" rotWithShape="0">
                    <a:schemeClr val="bg1"/>
                  </a:outerShdw>
                </a:effectLst>
              </a:rPr>
              <a:t>Количество мероприят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C6451C-86F1-4A4D-9EBF-851DA9E94B54}"/>
              </a:ext>
            </a:extLst>
          </p:cNvPr>
          <p:cNvSpPr txBox="1"/>
          <p:nvPr/>
        </p:nvSpPr>
        <p:spPr>
          <a:xfrm>
            <a:off x="4210157" y="1320714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b="1" dirty="0"/>
              <a:t>22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C84FA283-47C5-41A8-88CF-EE597FEC36A2}"/>
              </a:ext>
            </a:extLst>
          </p:cNvPr>
          <p:cNvSpPr/>
          <p:nvPr/>
        </p:nvSpPr>
        <p:spPr>
          <a:xfrm>
            <a:off x="4223563" y="1280218"/>
            <a:ext cx="318155" cy="31815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DC5DD08-F760-4F0F-8D1F-6EE7CDFE3576}"/>
              </a:ext>
            </a:extLst>
          </p:cNvPr>
          <p:cNvCxnSpPr>
            <a:cxnSpLocks/>
          </p:cNvCxnSpPr>
          <p:nvPr/>
        </p:nvCxnSpPr>
        <p:spPr>
          <a:xfrm>
            <a:off x="4541717" y="1397507"/>
            <a:ext cx="2123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E49143FC-9E6A-45CC-9FA4-F8EF83CFFEFA}"/>
              </a:ext>
            </a:extLst>
          </p:cNvPr>
          <p:cNvSpPr/>
          <p:nvPr/>
        </p:nvSpPr>
        <p:spPr>
          <a:xfrm>
            <a:off x="3336296" y="2420513"/>
            <a:ext cx="276999" cy="276999"/>
          </a:xfrm>
          <a:prstGeom prst="ellipse">
            <a:avLst/>
          </a:prstGeom>
          <a:solidFill>
            <a:srgbClr val="003D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1946B27F-1CCE-4F73-8421-D38378F39AAE}"/>
              </a:ext>
            </a:extLst>
          </p:cNvPr>
          <p:cNvSpPr/>
          <p:nvPr/>
        </p:nvSpPr>
        <p:spPr>
          <a:xfrm>
            <a:off x="3349259" y="3305376"/>
            <a:ext cx="276999" cy="276999"/>
          </a:xfrm>
          <a:prstGeom prst="ellipse">
            <a:avLst/>
          </a:prstGeom>
          <a:solidFill>
            <a:srgbClr val="0CAFB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C463D8-E695-43BA-BADA-0127F1BDA46E}"/>
              </a:ext>
            </a:extLst>
          </p:cNvPr>
          <p:cNvSpPr txBox="1"/>
          <p:nvPr/>
        </p:nvSpPr>
        <p:spPr>
          <a:xfrm>
            <a:off x="1390494" y="1330009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b="1" dirty="0"/>
              <a:t>22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A51F822A-E354-4676-A2E0-B08AA28E3AC7}"/>
              </a:ext>
            </a:extLst>
          </p:cNvPr>
          <p:cNvSpPr/>
          <p:nvPr/>
        </p:nvSpPr>
        <p:spPr>
          <a:xfrm>
            <a:off x="1390495" y="1296794"/>
            <a:ext cx="318155" cy="31815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20789C3-52CC-41E9-89E3-90735762E911}"/>
              </a:ext>
            </a:extLst>
          </p:cNvPr>
          <p:cNvCxnSpPr>
            <a:cxnSpLocks/>
          </p:cNvCxnSpPr>
          <p:nvPr/>
        </p:nvCxnSpPr>
        <p:spPr>
          <a:xfrm>
            <a:off x="1708649" y="1414082"/>
            <a:ext cx="2123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918273E-9D7C-4A4F-A233-1D6562A356E8}"/>
              </a:ext>
            </a:extLst>
          </p:cNvPr>
          <p:cNvSpPr txBox="1"/>
          <p:nvPr/>
        </p:nvSpPr>
        <p:spPr>
          <a:xfrm>
            <a:off x="3368991" y="3311146"/>
            <a:ext cx="26481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23992A3-34D3-457B-8DC6-6EB90175713B}"/>
              </a:ext>
            </a:extLst>
          </p:cNvPr>
          <p:cNvSpPr txBox="1"/>
          <p:nvPr/>
        </p:nvSpPr>
        <p:spPr>
          <a:xfrm>
            <a:off x="3302312" y="2420513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426E50DB-6887-424C-9DA8-F055874EA61D}"/>
              </a:ext>
            </a:extLst>
          </p:cNvPr>
          <p:cNvSpPr/>
          <p:nvPr/>
        </p:nvSpPr>
        <p:spPr>
          <a:xfrm>
            <a:off x="6154913" y="3474669"/>
            <a:ext cx="276999" cy="276999"/>
          </a:xfrm>
          <a:prstGeom prst="ellipse">
            <a:avLst/>
          </a:prstGeom>
          <a:solidFill>
            <a:srgbClr val="0CAFB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A1DD1701-DD14-496F-9615-8072F32DCB8E}"/>
              </a:ext>
            </a:extLst>
          </p:cNvPr>
          <p:cNvSpPr/>
          <p:nvPr/>
        </p:nvSpPr>
        <p:spPr>
          <a:xfrm>
            <a:off x="6141950" y="2505512"/>
            <a:ext cx="276999" cy="276999"/>
          </a:xfrm>
          <a:prstGeom prst="ellipse">
            <a:avLst/>
          </a:prstGeom>
          <a:solidFill>
            <a:srgbClr val="003D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A4B01D-5B04-4465-8FE9-E3C869CD37F6}"/>
              </a:ext>
            </a:extLst>
          </p:cNvPr>
          <p:cNvSpPr txBox="1"/>
          <p:nvPr/>
        </p:nvSpPr>
        <p:spPr>
          <a:xfrm>
            <a:off x="6168624" y="3474669"/>
            <a:ext cx="26481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7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36AAA59-6F21-4BFF-90D9-FCF5873355F3}"/>
              </a:ext>
            </a:extLst>
          </p:cNvPr>
          <p:cNvSpPr txBox="1"/>
          <p:nvPr/>
        </p:nvSpPr>
        <p:spPr>
          <a:xfrm>
            <a:off x="6106754" y="2504332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>
                <a:solidFill>
                  <a:schemeClr val="bg1"/>
                </a:solidFill>
              </a:rPr>
              <a:t>15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 bwMode="auto">
          <a:xfrm>
            <a:off x="3153416" y="2551301"/>
            <a:ext cx="188162" cy="7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3174479" y="3449466"/>
            <a:ext cx="188162" cy="7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/>
          <p:cNvCxnSpPr/>
          <p:nvPr/>
        </p:nvCxnSpPr>
        <p:spPr bwMode="auto">
          <a:xfrm>
            <a:off x="5980462" y="3632039"/>
            <a:ext cx="188162" cy="7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966751" y="2644011"/>
            <a:ext cx="188162" cy="7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0843A8-D958-4B23-A0D2-8F293C28C1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303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768EB5F8-DB2E-4484-A4A4-A33DEAE957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75473"/>
              </p:ext>
            </p:extLst>
          </p:nvPr>
        </p:nvGraphicFramePr>
        <p:xfrm>
          <a:off x="226443" y="1492253"/>
          <a:ext cx="8356100" cy="31665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5256">
                  <a:extLst>
                    <a:ext uri="{9D8B030D-6E8A-4147-A177-3AD203B41FA5}">
                      <a16:colId xmlns:a16="http://schemas.microsoft.com/office/drawing/2014/main" val="917172419"/>
                    </a:ext>
                  </a:extLst>
                </a:gridCol>
                <a:gridCol w="1776010">
                  <a:extLst>
                    <a:ext uri="{9D8B030D-6E8A-4147-A177-3AD203B41FA5}">
                      <a16:colId xmlns:a16="http://schemas.microsoft.com/office/drawing/2014/main" val="3093777859"/>
                    </a:ext>
                  </a:extLst>
                </a:gridCol>
                <a:gridCol w="1300682">
                  <a:extLst>
                    <a:ext uri="{9D8B030D-6E8A-4147-A177-3AD203B41FA5}">
                      <a16:colId xmlns:a16="http://schemas.microsoft.com/office/drawing/2014/main" val="3422340301"/>
                    </a:ext>
                  </a:extLst>
                </a:gridCol>
                <a:gridCol w="1034152">
                  <a:extLst>
                    <a:ext uri="{9D8B030D-6E8A-4147-A177-3AD203B41FA5}">
                      <a16:colId xmlns:a16="http://schemas.microsoft.com/office/drawing/2014/main" val="1957423118"/>
                    </a:ext>
                  </a:extLst>
                </a:gridCol>
              </a:tblGrid>
              <a:tr h="26640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точники финансирования</a:t>
                      </a:r>
                    </a:p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 год</a:t>
                      </a:r>
                    </a:p>
                  </a:txBody>
                  <a:tcPr marL="7144" marR="7144" marT="7144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FF6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F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348731"/>
                  </a:ext>
                </a:extLst>
              </a:tr>
              <a:tr h="623059">
                <a:tc v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FF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тено при утверждении инвестиционной программы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</a:p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выполнения</a:t>
                      </a: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4771238"/>
                  </a:ext>
                </a:extLst>
              </a:tr>
              <a:tr h="338050"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онные отчисления,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том числе: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77E2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281317"/>
                  </a:ext>
                </a:extLst>
              </a:tr>
              <a:tr h="387844">
                <a:tc>
                  <a:txBody>
                    <a:bodyPr/>
                    <a:lstStyle/>
                    <a:p>
                      <a:pPr marL="85725" indent="0" algn="r">
                        <a:tabLst>
                          <a:tab pos="5381625" algn="l"/>
                        </a:tabLst>
                      </a:pPr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онные отчисления, учтенные в регулируемых тарифах на тепловую энергию </a:t>
                      </a:r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в воде)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1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1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801405"/>
                  </a:ext>
                </a:extLst>
              </a:tr>
              <a:tr h="4294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онные отчисления, учтенные</a:t>
                      </a:r>
                      <a:r>
                        <a:rPr kumimoji="0" lang="ru-RU" sz="9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регулируемых тарифах на теплоноситель </a:t>
                      </a:r>
                      <a:r>
                        <a:rPr kumimoji="0" lang="ru-RU" sz="8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в виде воды)</a:t>
                      </a:r>
                      <a:endParaRPr kumimoji="0" lang="ru-RU" sz="9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1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1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448497"/>
                  </a:ext>
                </a:extLst>
              </a:tr>
              <a:tr h="5577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мортизационные отчисления, относимые на нерегулируемые виды </a:t>
                      </a:r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роизводство тепловой энергии и теплоноситель в паре)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,5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,9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%</a:t>
                      </a:r>
                    </a:p>
                  </a:txBody>
                  <a:tcPr marL="7144" marR="7144" marT="7144" marB="0" anchor="ctr"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400501"/>
                  </a:ext>
                </a:extLst>
              </a:tr>
              <a:tr h="56389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8572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 в 2021 году, </a:t>
                      </a:r>
                      <a:r>
                        <a:rPr lang="ru-RU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млн. руб. без НДС)</a:t>
                      </a:r>
                      <a:endParaRPr lang="ru-RU" sz="11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 rtl="0" fontAlgn="ctr"/>
                      <a:endParaRPr lang="ru-RU" sz="1100" b="0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,7</a:t>
                      </a:r>
                    </a:p>
                  </a:txBody>
                  <a:tcPr marL="7144" marR="7144" marT="7144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9,1</a:t>
                      </a:r>
                    </a:p>
                  </a:txBody>
                  <a:tcPr marL="7144" marR="7144" marT="7144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 dirty="0">
                          <a:solidFill>
                            <a:schemeClr val="bg1"/>
                          </a:solidFill>
                          <a:effectLst>
                            <a:outerShdw blurRad="50800" dist="38100" algn="l" rotWithShape="0">
                              <a:schemeClr val="bg1">
                                <a:alpha val="40000"/>
                              </a:scheme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%</a:t>
                      </a:r>
                    </a:p>
                  </a:txBody>
                  <a:tcPr marL="7144" marR="7144" marT="7144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070265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6AD9C57-0C6E-44BD-8791-62BDE55DE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9207" y="91440"/>
            <a:ext cx="8947400" cy="343586"/>
          </a:xfrm>
        </p:spPr>
        <p:txBody>
          <a:bodyPr>
            <a:noAutofit/>
          </a:bodyPr>
          <a:lstStyle/>
          <a:p>
            <a:pPr algn="ctr"/>
            <a:r>
              <a:rPr lang="ru-RU" kern="1200" dirty="0"/>
              <a:t>Источники финансирования </a:t>
            </a:r>
            <a:br>
              <a:rPr lang="ru-RU" kern="1200" dirty="0"/>
            </a:br>
            <a:r>
              <a:rPr lang="ru-RU" kern="1200" dirty="0"/>
              <a:t>инвестиционной программы 2021 год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9421DB-EF3D-4F3C-A282-345E8E26C0C7}"/>
              </a:ext>
            </a:extLst>
          </p:cNvPr>
          <p:cNvSpPr/>
          <p:nvPr/>
        </p:nvSpPr>
        <p:spPr>
          <a:xfrm>
            <a:off x="310262" y="911119"/>
            <a:ext cx="8188461" cy="438582"/>
          </a:xfrm>
          <a:prstGeom prst="rect">
            <a:avLst/>
          </a:prstGeom>
          <a:noFill/>
          <a:ln w="19050">
            <a:solidFill>
              <a:srgbClr val="25B7B8"/>
            </a:solidFill>
          </a:ln>
          <a:effectLst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125" dirty="0">
                <a:solidFill>
                  <a:schemeClr val="accent5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ами финансирования мероприятий инвестиционной программы АО «ТГК-16»                                                                       являются </a:t>
            </a:r>
            <a:r>
              <a:rPr lang="ru-RU" sz="1125" b="1" dirty="0">
                <a:solidFill>
                  <a:schemeClr val="accent5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ые средства</a:t>
            </a:r>
            <a:r>
              <a:rPr lang="ru-RU" sz="1125" dirty="0">
                <a:solidFill>
                  <a:schemeClr val="accent5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приятия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9BE645-9FB1-41A4-978B-BBAC303A0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6486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48">
            <a:extLst>
              <a:ext uri="{FF2B5EF4-FFF2-40B4-BE49-F238E27FC236}">
                <a16:creationId xmlns:a16="http://schemas.microsoft.com/office/drawing/2014/main" id="{78AF1436-F08F-466C-A4D3-8FCB13CF3A79}"/>
              </a:ext>
            </a:extLst>
          </p:cNvPr>
          <p:cNvSpPr/>
          <p:nvPr/>
        </p:nvSpPr>
        <p:spPr>
          <a:xfrm>
            <a:off x="3255928" y="448060"/>
            <a:ext cx="5416568" cy="30008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r"/>
            <a:endParaRPr lang="en-IN" sz="135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47">
            <a:extLst>
              <a:ext uri="{FF2B5EF4-FFF2-40B4-BE49-F238E27FC236}">
                <a16:creationId xmlns:a16="http://schemas.microsoft.com/office/drawing/2014/main" id="{AEE7F168-E4AE-497A-87CE-AC1D372E8061}"/>
              </a:ext>
            </a:extLst>
          </p:cNvPr>
          <p:cNvSpPr/>
          <p:nvPr/>
        </p:nvSpPr>
        <p:spPr>
          <a:xfrm>
            <a:off x="999439" y="332644"/>
            <a:ext cx="7852461" cy="4154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Плановые показатели надежности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926811"/>
              </p:ext>
            </p:extLst>
          </p:nvPr>
        </p:nvGraphicFramePr>
        <p:xfrm>
          <a:off x="569894" y="863558"/>
          <a:ext cx="8282006" cy="3740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9369">
                  <a:extLst>
                    <a:ext uri="{9D8B030D-6E8A-4147-A177-3AD203B41FA5}">
                      <a16:colId xmlns:a16="http://schemas.microsoft.com/office/drawing/2014/main" val="4206617094"/>
                    </a:ext>
                  </a:extLst>
                </a:gridCol>
                <a:gridCol w="2264566">
                  <a:extLst>
                    <a:ext uri="{9D8B030D-6E8A-4147-A177-3AD203B41FA5}">
                      <a16:colId xmlns:a16="http://schemas.microsoft.com/office/drawing/2014/main" val="3262801460"/>
                    </a:ext>
                  </a:extLst>
                </a:gridCol>
                <a:gridCol w="1496697">
                  <a:extLst>
                    <a:ext uri="{9D8B030D-6E8A-4147-A177-3AD203B41FA5}">
                      <a16:colId xmlns:a16="http://schemas.microsoft.com/office/drawing/2014/main" val="1940188212"/>
                    </a:ext>
                  </a:extLst>
                </a:gridCol>
                <a:gridCol w="1301475">
                  <a:extLst>
                    <a:ext uri="{9D8B030D-6E8A-4147-A177-3AD203B41FA5}">
                      <a16:colId xmlns:a16="http://schemas.microsoft.com/office/drawing/2014/main" val="3103643992"/>
                    </a:ext>
                  </a:extLst>
                </a:gridCol>
                <a:gridCol w="1392579">
                  <a:extLst>
                    <a:ext uri="{9D8B030D-6E8A-4147-A177-3AD203B41FA5}">
                      <a16:colId xmlns:a16="http://schemas.microsoft.com/office/drawing/2014/main" val="498773339"/>
                    </a:ext>
                  </a:extLst>
                </a:gridCol>
                <a:gridCol w="1187320">
                  <a:extLst>
                    <a:ext uri="{9D8B030D-6E8A-4147-A177-3AD203B41FA5}">
                      <a16:colId xmlns:a16="http://schemas.microsoft.com/office/drawing/2014/main" val="3273930329"/>
                    </a:ext>
                  </a:extLst>
                </a:gridCol>
              </a:tblGrid>
              <a:tr h="1213450">
                <a:tc rowSpan="2">
                  <a:txBody>
                    <a:bodyPr/>
                    <a:lstStyle/>
                    <a:p>
                      <a:r>
                        <a:rPr lang="ru-RU" dirty="0"/>
                        <a:t>№ </a:t>
                      </a:r>
                      <a:r>
                        <a:rPr lang="ru-RU" dirty="0" err="1"/>
                        <a:t>п.п</a:t>
                      </a:r>
                      <a:r>
                        <a:rPr lang="ru-RU" dirty="0"/>
                        <a:t>.</a:t>
                      </a:r>
                    </a:p>
                    <a:p>
                      <a:endParaRPr lang="ru-RU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Наименование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Ед. изм.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Количество прекращений подачи тепловой энергии, теплоносителя в результате технологических нарушений на источниках тепловой энергии на 1 Гкал/час установленной мощности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2563258"/>
                  </a:ext>
                </a:extLst>
              </a:tr>
              <a:tr h="58420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т 2021 г.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лан                                               1 полугодие 2022 г.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т                                              1 полугодие 2022 г.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4166291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r>
                        <a:rPr lang="ru-RU" sz="13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АО «ТГК-16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ед./(Гкал/ч)</a:t>
                      </a:r>
                    </a:p>
                    <a:p>
                      <a:pPr algn="ctr"/>
                      <a:endParaRPr lang="ru-RU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2110915"/>
                  </a:ext>
                </a:extLst>
              </a:tr>
              <a:tr h="683260">
                <a:tc>
                  <a:txBody>
                    <a:bodyPr/>
                    <a:lstStyle/>
                    <a:p>
                      <a:r>
                        <a:rPr lang="ru-RU" sz="1300" dirty="0"/>
                        <a:t>1.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Филиал АО «ТГК-16» – «Нижнекамская ТЭЦ (ПТК-1)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ед./(Гкал/ч)</a:t>
                      </a:r>
                    </a:p>
                    <a:p>
                      <a:pPr algn="ctr"/>
                      <a:endParaRPr lang="ru-RU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032608"/>
                  </a:ext>
                </a:extLst>
              </a:tr>
              <a:tr h="530860">
                <a:tc>
                  <a:txBody>
                    <a:bodyPr/>
                    <a:lstStyle/>
                    <a:p>
                      <a:r>
                        <a:rPr lang="ru-RU" sz="1300" dirty="0"/>
                        <a:t>1.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Филиал АО «ТГК-16» – «Казанская ТЭЦ-3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ед./(Гкал/ч)</a:t>
                      </a:r>
                    </a:p>
                    <a:p>
                      <a:pPr algn="ctr"/>
                      <a:endParaRPr lang="ru-RU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2778652"/>
                  </a:ext>
                </a:extLst>
              </a:tr>
            </a:tbl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4E2786E-3E5A-456F-B756-FE494C84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931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36">
            <a:extLst>
              <a:ext uri="{FF2B5EF4-FFF2-40B4-BE49-F238E27FC236}">
                <a16:creationId xmlns:a16="http://schemas.microsoft.com/office/drawing/2014/main" id="{527C0797-511E-4D94-8BDA-2BCCB8E7AC70}"/>
              </a:ext>
            </a:extLst>
          </p:cNvPr>
          <p:cNvSpPr/>
          <p:nvPr/>
        </p:nvSpPr>
        <p:spPr>
          <a:xfrm>
            <a:off x="8061373" y="1311874"/>
            <a:ext cx="1080103" cy="2707343"/>
          </a:xfrm>
          <a:custGeom>
            <a:avLst/>
            <a:gdLst>
              <a:gd name="connsiteX0" fmla="*/ 0 w 4045952"/>
              <a:gd name="connsiteY0" fmla="*/ 2022976 h 4045952"/>
              <a:gd name="connsiteX1" fmla="*/ 2022976 w 4045952"/>
              <a:gd name="connsiteY1" fmla="*/ 0 h 4045952"/>
              <a:gd name="connsiteX2" fmla="*/ 4045952 w 4045952"/>
              <a:gd name="connsiteY2" fmla="*/ 2022976 h 4045952"/>
              <a:gd name="connsiteX3" fmla="*/ 2022976 w 4045952"/>
              <a:gd name="connsiteY3" fmla="*/ 4045952 h 4045952"/>
              <a:gd name="connsiteX4" fmla="*/ 0 w 4045952"/>
              <a:gd name="connsiteY4" fmla="*/ 2022976 h 4045952"/>
              <a:gd name="connsiteX0" fmla="*/ 4045952 w 4137392"/>
              <a:gd name="connsiteY0" fmla="*/ 2022976 h 4045952"/>
              <a:gd name="connsiteX1" fmla="*/ 2022976 w 4137392"/>
              <a:gd name="connsiteY1" fmla="*/ 4045952 h 4045952"/>
              <a:gd name="connsiteX2" fmla="*/ 0 w 4137392"/>
              <a:gd name="connsiteY2" fmla="*/ 2022976 h 4045952"/>
              <a:gd name="connsiteX3" fmla="*/ 2022976 w 4137392"/>
              <a:gd name="connsiteY3" fmla="*/ 0 h 4045952"/>
              <a:gd name="connsiteX4" fmla="*/ 4137392 w 4137392"/>
              <a:gd name="connsiteY4" fmla="*/ 2114416 h 4045952"/>
              <a:gd name="connsiteX0" fmla="*/ 4045952 w 4045952"/>
              <a:gd name="connsiteY0" fmla="*/ 2022976 h 4045952"/>
              <a:gd name="connsiteX1" fmla="*/ 2022976 w 4045952"/>
              <a:gd name="connsiteY1" fmla="*/ 4045952 h 4045952"/>
              <a:gd name="connsiteX2" fmla="*/ 0 w 4045952"/>
              <a:gd name="connsiteY2" fmla="*/ 2022976 h 4045952"/>
              <a:gd name="connsiteX3" fmla="*/ 2022976 w 4045952"/>
              <a:gd name="connsiteY3" fmla="*/ 0 h 4045952"/>
              <a:gd name="connsiteX0" fmla="*/ 2022976 w 2022976"/>
              <a:gd name="connsiteY0" fmla="*/ 4045952 h 4045952"/>
              <a:gd name="connsiteX1" fmla="*/ 0 w 2022976"/>
              <a:gd name="connsiteY1" fmla="*/ 2022976 h 4045952"/>
              <a:gd name="connsiteX2" fmla="*/ 2022976 w 2022976"/>
              <a:gd name="connsiteY2" fmla="*/ 0 h 4045952"/>
              <a:gd name="connsiteX0" fmla="*/ 2028559 w 2028559"/>
              <a:gd name="connsiteY0" fmla="*/ 4126993 h 4126993"/>
              <a:gd name="connsiteX1" fmla="*/ 5583 w 2028559"/>
              <a:gd name="connsiteY1" fmla="*/ 2104017 h 4126993"/>
              <a:gd name="connsiteX2" fmla="*/ 1445300 w 2028559"/>
              <a:gd name="connsiteY2" fmla="*/ 173879 h 4126993"/>
              <a:gd name="connsiteX3" fmla="*/ 2028559 w 2028559"/>
              <a:gd name="connsiteY3" fmla="*/ 81041 h 4126993"/>
              <a:gd name="connsiteX0" fmla="*/ 2028559 w 2028559"/>
              <a:gd name="connsiteY0" fmla="*/ 4045952 h 4045952"/>
              <a:gd name="connsiteX1" fmla="*/ 5583 w 2028559"/>
              <a:gd name="connsiteY1" fmla="*/ 2022976 h 4045952"/>
              <a:gd name="connsiteX2" fmla="*/ 1445300 w 2028559"/>
              <a:gd name="connsiteY2" fmla="*/ 92838 h 4045952"/>
              <a:gd name="connsiteX3" fmla="*/ 2028559 w 2028559"/>
              <a:gd name="connsiteY3" fmla="*/ 0 h 4045952"/>
              <a:gd name="connsiteX0" fmla="*/ 2029800 w 2029800"/>
              <a:gd name="connsiteY0" fmla="*/ 4045952 h 4045952"/>
              <a:gd name="connsiteX1" fmla="*/ 6824 w 2029800"/>
              <a:gd name="connsiteY1" fmla="*/ 2022976 h 4045952"/>
              <a:gd name="connsiteX2" fmla="*/ 1446541 w 2029800"/>
              <a:gd name="connsiteY2" fmla="*/ 92838 h 4045952"/>
              <a:gd name="connsiteX3" fmla="*/ 2029800 w 2029800"/>
              <a:gd name="connsiteY3" fmla="*/ 0 h 4045952"/>
              <a:gd name="connsiteX0" fmla="*/ 2032342 w 2032342"/>
              <a:gd name="connsiteY0" fmla="*/ 4045952 h 4045952"/>
              <a:gd name="connsiteX1" fmla="*/ 9366 w 2032342"/>
              <a:gd name="connsiteY1" fmla="*/ 2022976 h 4045952"/>
              <a:gd name="connsiteX2" fmla="*/ 1449083 w 2032342"/>
              <a:gd name="connsiteY2" fmla="*/ 92838 h 4045952"/>
              <a:gd name="connsiteX3" fmla="*/ 2032342 w 2032342"/>
              <a:gd name="connsiteY3" fmla="*/ 0 h 4045952"/>
              <a:gd name="connsiteX0" fmla="*/ 2034028 w 2034028"/>
              <a:gd name="connsiteY0" fmla="*/ 4045952 h 4045952"/>
              <a:gd name="connsiteX1" fmla="*/ 11052 w 2034028"/>
              <a:gd name="connsiteY1" fmla="*/ 2022976 h 4045952"/>
              <a:gd name="connsiteX2" fmla="*/ 1450769 w 2034028"/>
              <a:gd name="connsiteY2" fmla="*/ 92838 h 4045952"/>
              <a:gd name="connsiteX3" fmla="*/ 2034028 w 2034028"/>
              <a:gd name="connsiteY3" fmla="*/ 0 h 4045952"/>
              <a:gd name="connsiteX0" fmla="*/ 2033317 w 2033317"/>
              <a:gd name="connsiteY0" fmla="*/ 4045952 h 4045952"/>
              <a:gd name="connsiteX1" fmla="*/ 10341 w 2033317"/>
              <a:gd name="connsiteY1" fmla="*/ 2022976 h 4045952"/>
              <a:gd name="connsiteX2" fmla="*/ 1450058 w 2033317"/>
              <a:gd name="connsiteY2" fmla="*/ 92838 h 4045952"/>
              <a:gd name="connsiteX3" fmla="*/ 2033317 w 2033317"/>
              <a:gd name="connsiteY3" fmla="*/ 0 h 4045952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2033317 w 2033317"/>
              <a:gd name="connsiteY0" fmla="*/ 4045952 h 4136971"/>
              <a:gd name="connsiteX1" fmla="*/ 1440632 w 2033317"/>
              <a:gd name="connsiteY1" fmla="*/ 3967254 h 4136971"/>
              <a:gd name="connsiteX2" fmla="*/ 10341 w 2033317"/>
              <a:gd name="connsiteY2" fmla="*/ 2022976 h 4136971"/>
              <a:gd name="connsiteX3" fmla="*/ 1450058 w 2033317"/>
              <a:gd name="connsiteY3" fmla="*/ 92838 h 4136971"/>
              <a:gd name="connsiteX4" fmla="*/ 2033317 w 2033317"/>
              <a:gd name="connsiteY4" fmla="*/ 0 h 4136971"/>
              <a:gd name="connsiteX0" fmla="*/ 1440632 w 2033317"/>
              <a:gd name="connsiteY0" fmla="*/ 3967254 h 3967254"/>
              <a:gd name="connsiteX1" fmla="*/ 10341 w 2033317"/>
              <a:gd name="connsiteY1" fmla="*/ 2022976 h 3967254"/>
              <a:gd name="connsiteX2" fmla="*/ 1450058 w 2033317"/>
              <a:gd name="connsiteY2" fmla="*/ 92838 h 3967254"/>
              <a:gd name="connsiteX3" fmla="*/ 2033317 w 2033317"/>
              <a:gd name="connsiteY3" fmla="*/ 0 h 3967254"/>
              <a:gd name="connsiteX0" fmla="*/ 1440632 w 1450058"/>
              <a:gd name="connsiteY0" fmla="*/ 3874416 h 3874416"/>
              <a:gd name="connsiteX1" fmla="*/ 10341 w 1450058"/>
              <a:gd name="connsiteY1" fmla="*/ 1930138 h 3874416"/>
              <a:gd name="connsiteX2" fmla="*/ 1450058 w 1450058"/>
              <a:gd name="connsiteY2" fmla="*/ 0 h 3874416"/>
              <a:gd name="connsiteX0" fmla="*/ 1430381 w 1439807"/>
              <a:gd name="connsiteY0" fmla="*/ 3874416 h 3874416"/>
              <a:gd name="connsiteX1" fmla="*/ 90 w 1439807"/>
              <a:gd name="connsiteY1" fmla="*/ 1930138 h 3874416"/>
              <a:gd name="connsiteX2" fmla="*/ 1439807 w 1439807"/>
              <a:gd name="connsiteY2" fmla="*/ 0 h 3874416"/>
              <a:gd name="connsiteX0" fmla="*/ 1430711 w 1440137"/>
              <a:gd name="connsiteY0" fmla="*/ 3874416 h 3874416"/>
              <a:gd name="connsiteX1" fmla="*/ 420 w 1440137"/>
              <a:gd name="connsiteY1" fmla="*/ 1930138 h 3874416"/>
              <a:gd name="connsiteX2" fmla="*/ 1440137 w 1440137"/>
              <a:gd name="connsiteY2" fmla="*/ 0 h 3874416"/>
              <a:gd name="connsiteX0" fmla="*/ 1430711 w 1440137"/>
              <a:gd name="connsiteY0" fmla="*/ 3874416 h 3874416"/>
              <a:gd name="connsiteX1" fmla="*/ 420 w 1440137"/>
              <a:gd name="connsiteY1" fmla="*/ 1930138 h 3874416"/>
              <a:gd name="connsiteX2" fmla="*/ 1440137 w 1440137"/>
              <a:gd name="connsiteY2" fmla="*/ 0 h 3874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137" h="3874416">
                <a:moveTo>
                  <a:pt x="1430711" y="3874416"/>
                </a:moveTo>
                <a:cubicBezTo>
                  <a:pt x="452526" y="3678656"/>
                  <a:pt x="17703" y="2670142"/>
                  <a:pt x="420" y="1930138"/>
                </a:cubicBezTo>
                <a:cubicBezTo>
                  <a:pt x="-16863" y="1190134"/>
                  <a:pt x="499659" y="271176"/>
                  <a:pt x="1440137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25">
              <a:latin typeface="Open Sans" panose="020B0606030504020204"/>
            </a:endParaRPr>
          </a:p>
        </p:txBody>
      </p:sp>
      <p:sp>
        <p:nvSpPr>
          <p:cNvPr id="7" name="Oval 24">
            <a:extLst>
              <a:ext uri="{FF2B5EF4-FFF2-40B4-BE49-F238E27FC236}">
                <a16:creationId xmlns:a16="http://schemas.microsoft.com/office/drawing/2014/main" id="{14513FB4-E854-4402-827D-AF2A022F2DA3}"/>
              </a:ext>
            </a:extLst>
          </p:cNvPr>
          <p:cNvSpPr/>
          <p:nvPr/>
        </p:nvSpPr>
        <p:spPr>
          <a:xfrm>
            <a:off x="8427858" y="1706388"/>
            <a:ext cx="725308" cy="1897957"/>
          </a:xfrm>
          <a:custGeom>
            <a:avLst/>
            <a:gdLst>
              <a:gd name="connsiteX0" fmla="*/ 0 w 3058264"/>
              <a:gd name="connsiteY0" fmla="*/ 1529132 h 3058264"/>
              <a:gd name="connsiteX1" fmla="*/ 1529132 w 3058264"/>
              <a:gd name="connsiteY1" fmla="*/ 0 h 3058264"/>
              <a:gd name="connsiteX2" fmla="*/ 3058264 w 3058264"/>
              <a:gd name="connsiteY2" fmla="*/ 1529132 h 3058264"/>
              <a:gd name="connsiteX3" fmla="*/ 1529132 w 3058264"/>
              <a:gd name="connsiteY3" fmla="*/ 3058264 h 3058264"/>
              <a:gd name="connsiteX4" fmla="*/ 0 w 3058264"/>
              <a:gd name="connsiteY4" fmla="*/ 1529132 h 3058264"/>
              <a:gd name="connsiteX0" fmla="*/ 3058264 w 3149704"/>
              <a:gd name="connsiteY0" fmla="*/ 1529132 h 3058264"/>
              <a:gd name="connsiteX1" fmla="*/ 1529132 w 3149704"/>
              <a:gd name="connsiteY1" fmla="*/ 3058264 h 3058264"/>
              <a:gd name="connsiteX2" fmla="*/ 0 w 3149704"/>
              <a:gd name="connsiteY2" fmla="*/ 1529132 h 3058264"/>
              <a:gd name="connsiteX3" fmla="*/ 1529132 w 3149704"/>
              <a:gd name="connsiteY3" fmla="*/ 0 h 3058264"/>
              <a:gd name="connsiteX4" fmla="*/ 3149704 w 3149704"/>
              <a:gd name="connsiteY4" fmla="*/ 1620572 h 3058264"/>
              <a:gd name="connsiteX0" fmla="*/ 3058264 w 3058264"/>
              <a:gd name="connsiteY0" fmla="*/ 1529132 h 3058264"/>
              <a:gd name="connsiteX1" fmla="*/ 1529132 w 3058264"/>
              <a:gd name="connsiteY1" fmla="*/ 3058264 h 3058264"/>
              <a:gd name="connsiteX2" fmla="*/ 0 w 3058264"/>
              <a:gd name="connsiteY2" fmla="*/ 1529132 h 3058264"/>
              <a:gd name="connsiteX3" fmla="*/ 1529132 w 3058264"/>
              <a:gd name="connsiteY3" fmla="*/ 0 h 3058264"/>
              <a:gd name="connsiteX0" fmla="*/ 1529132 w 1529132"/>
              <a:gd name="connsiteY0" fmla="*/ 3058264 h 3058264"/>
              <a:gd name="connsiteX1" fmla="*/ 0 w 1529132"/>
              <a:gd name="connsiteY1" fmla="*/ 1529132 h 3058264"/>
              <a:gd name="connsiteX2" fmla="*/ 1529132 w 1529132"/>
              <a:gd name="connsiteY2" fmla="*/ 0 h 3058264"/>
              <a:gd name="connsiteX0" fmla="*/ 1550794 w 1550794"/>
              <a:gd name="connsiteY0" fmla="*/ 2945142 h 2945142"/>
              <a:gd name="connsiteX1" fmla="*/ 21662 w 1550794"/>
              <a:gd name="connsiteY1" fmla="*/ 1416010 h 2945142"/>
              <a:gd name="connsiteX2" fmla="*/ 975759 w 1550794"/>
              <a:gd name="connsiteY2" fmla="*/ 0 h 2945142"/>
              <a:gd name="connsiteX0" fmla="*/ 1541226 w 1541226"/>
              <a:gd name="connsiteY0" fmla="*/ 2945142 h 2945142"/>
              <a:gd name="connsiteX1" fmla="*/ 12094 w 1541226"/>
              <a:gd name="connsiteY1" fmla="*/ 1416010 h 2945142"/>
              <a:gd name="connsiteX2" fmla="*/ 966191 w 1541226"/>
              <a:gd name="connsiteY2" fmla="*/ 0 h 2945142"/>
              <a:gd name="connsiteX0" fmla="*/ 972970 w 972970"/>
              <a:gd name="connsiteY0" fmla="*/ 2907434 h 2907434"/>
              <a:gd name="connsiteX1" fmla="*/ 19 w 972970"/>
              <a:gd name="connsiteY1" fmla="*/ 1416010 h 2907434"/>
              <a:gd name="connsiteX2" fmla="*/ 954116 w 972970"/>
              <a:gd name="connsiteY2" fmla="*/ 0 h 2907434"/>
              <a:gd name="connsiteX0" fmla="*/ 972970 w 972970"/>
              <a:gd name="connsiteY0" fmla="*/ 2907434 h 2907434"/>
              <a:gd name="connsiteX1" fmla="*/ 19 w 972970"/>
              <a:gd name="connsiteY1" fmla="*/ 1416010 h 2907434"/>
              <a:gd name="connsiteX2" fmla="*/ 954116 w 972970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8 w 973008"/>
              <a:gd name="connsiteY0" fmla="*/ 2907434 h 2907434"/>
              <a:gd name="connsiteX1" fmla="*/ 57 w 973008"/>
              <a:gd name="connsiteY1" fmla="*/ 1416010 h 2907434"/>
              <a:gd name="connsiteX2" fmla="*/ 954154 w 973008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73006 w 973006"/>
              <a:gd name="connsiteY0" fmla="*/ 2907434 h 2907434"/>
              <a:gd name="connsiteX1" fmla="*/ 55 w 973006"/>
              <a:gd name="connsiteY1" fmla="*/ 1416010 h 2907434"/>
              <a:gd name="connsiteX2" fmla="*/ 954152 w 973006"/>
              <a:gd name="connsiteY2" fmla="*/ 0 h 2907434"/>
              <a:gd name="connsiteX0" fmla="*/ 982428 w 982428"/>
              <a:gd name="connsiteY0" fmla="*/ 2907434 h 2907434"/>
              <a:gd name="connsiteX1" fmla="*/ 50 w 982428"/>
              <a:gd name="connsiteY1" fmla="*/ 1510278 h 2907434"/>
              <a:gd name="connsiteX2" fmla="*/ 963574 w 982428"/>
              <a:gd name="connsiteY2" fmla="*/ 0 h 290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2428" h="2907434">
                <a:moveTo>
                  <a:pt x="982428" y="2907434"/>
                </a:moveTo>
                <a:cubicBezTo>
                  <a:pt x="251033" y="2586923"/>
                  <a:pt x="3192" y="1928863"/>
                  <a:pt x="50" y="1510278"/>
                </a:cubicBezTo>
                <a:cubicBezTo>
                  <a:pt x="-3092" y="1091693"/>
                  <a:pt x="137912" y="348793"/>
                  <a:pt x="963574" y="0"/>
                </a:cubicBezTo>
              </a:path>
            </a:pathLst>
          </a:custGeom>
          <a:solidFill>
            <a:srgbClr val="1D8F8F"/>
          </a:solidFill>
          <a:ln w="1270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25" dirty="0">
              <a:latin typeface="Open Sans" panose="020B0606030504020204"/>
            </a:endParaRPr>
          </a:p>
        </p:txBody>
      </p:sp>
      <p:cxnSp>
        <p:nvCxnSpPr>
          <p:cNvPr id="8" name="Straight Connector 30">
            <a:extLst>
              <a:ext uri="{FF2B5EF4-FFF2-40B4-BE49-F238E27FC236}">
                <a16:creationId xmlns:a16="http://schemas.microsoft.com/office/drawing/2014/main" id="{23A772D1-DDEB-4100-A61E-D7CEB2C20B61}"/>
              </a:ext>
            </a:extLst>
          </p:cNvPr>
          <p:cNvCxnSpPr>
            <a:cxnSpLocks/>
          </p:cNvCxnSpPr>
          <p:nvPr/>
        </p:nvCxnSpPr>
        <p:spPr>
          <a:xfrm flipH="1">
            <a:off x="7979748" y="1796025"/>
            <a:ext cx="692748" cy="0"/>
          </a:xfrm>
          <a:prstGeom prst="line">
            <a:avLst/>
          </a:prstGeom>
          <a:ln>
            <a:solidFill>
              <a:srgbClr val="80808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27">
            <a:extLst>
              <a:ext uri="{FF2B5EF4-FFF2-40B4-BE49-F238E27FC236}">
                <a16:creationId xmlns:a16="http://schemas.microsoft.com/office/drawing/2014/main" id="{A8E2474E-9820-479F-8987-3F40190A9DD8}"/>
              </a:ext>
            </a:extLst>
          </p:cNvPr>
          <p:cNvSpPr/>
          <p:nvPr/>
        </p:nvSpPr>
        <p:spPr>
          <a:xfrm>
            <a:off x="7481120" y="1583574"/>
            <a:ext cx="424902" cy="424902"/>
          </a:xfrm>
          <a:prstGeom prst="ellipse">
            <a:avLst/>
          </a:prstGeom>
          <a:solidFill>
            <a:srgbClr val="CFF6F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1</a:t>
            </a:r>
          </a:p>
        </p:txBody>
      </p:sp>
      <p:cxnSp>
        <p:nvCxnSpPr>
          <p:cNvPr id="10" name="Straight Connector 30">
            <a:extLst>
              <a:ext uri="{FF2B5EF4-FFF2-40B4-BE49-F238E27FC236}">
                <a16:creationId xmlns:a16="http://schemas.microsoft.com/office/drawing/2014/main" id="{1E842BD6-1BAD-47D5-BA04-3E388A509CAB}"/>
              </a:ext>
            </a:extLst>
          </p:cNvPr>
          <p:cNvCxnSpPr>
            <a:cxnSpLocks/>
          </p:cNvCxnSpPr>
          <p:nvPr/>
        </p:nvCxnSpPr>
        <p:spPr>
          <a:xfrm flipH="1">
            <a:off x="8061373" y="2649560"/>
            <a:ext cx="720482" cy="0"/>
          </a:xfrm>
          <a:prstGeom prst="line">
            <a:avLst/>
          </a:prstGeom>
          <a:ln>
            <a:solidFill>
              <a:srgbClr val="25B7B8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27">
            <a:extLst>
              <a:ext uri="{FF2B5EF4-FFF2-40B4-BE49-F238E27FC236}">
                <a16:creationId xmlns:a16="http://schemas.microsoft.com/office/drawing/2014/main" id="{8B5645E9-8BD2-47D9-B61E-9825889D6E63}"/>
              </a:ext>
            </a:extLst>
          </p:cNvPr>
          <p:cNvSpPr/>
          <p:nvPr/>
        </p:nvSpPr>
        <p:spPr>
          <a:xfrm>
            <a:off x="7497957" y="2475583"/>
            <a:ext cx="424902" cy="396329"/>
          </a:xfrm>
          <a:prstGeom prst="ellipse">
            <a:avLst/>
          </a:prstGeom>
          <a:solidFill>
            <a:srgbClr val="6FD0C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2</a:t>
            </a:r>
            <a:endParaRPr lang="en-IN" b="1" dirty="0"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" name="Straight Connector 30">
            <a:extLst>
              <a:ext uri="{FF2B5EF4-FFF2-40B4-BE49-F238E27FC236}">
                <a16:creationId xmlns:a16="http://schemas.microsoft.com/office/drawing/2014/main" id="{01DB51FE-048B-4E64-AE95-8A8A216C9B82}"/>
              </a:ext>
            </a:extLst>
          </p:cNvPr>
          <p:cNvCxnSpPr>
            <a:cxnSpLocks/>
          </p:cNvCxnSpPr>
          <p:nvPr/>
        </p:nvCxnSpPr>
        <p:spPr>
          <a:xfrm>
            <a:off x="8061373" y="3459896"/>
            <a:ext cx="729138" cy="0"/>
          </a:xfrm>
          <a:prstGeom prst="line">
            <a:avLst/>
          </a:prstGeom>
          <a:ln>
            <a:solidFill>
              <a:srgbClr val="1D8F8F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27">
            <a:extLst>
              <a:ext uri="{FF2B5EF4-FFF2-40B4-BE49-F238E27FC236}">
                <a16:creationId xmlns:a16="http://schemas.microsoft.com/office/drawing/2014/main" id="{08B4DFA0-29B6-4F3F-84DE-9F93CFD113F6}"/>
              </a:ext>
            </a:extLst>
          </p:cNvPr>
          <p:cNvSpPr/>
          <p:nvPr/>
        </p:nvSpPr>
        <p:spPr>
          <a:xfrm>
            <a:off x="7497957" y="3248958"/>
            <a:ext cx="424902" cy="424902"/>
          </a:xfrm>
          <a:prstGeom prst="ellipse">
            <a:avLst/>
          </a:prstGeom>
          <a:solidFill>
            <a:srgbClr val="1D8F8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03</a:t>
            </a:r>
            <a:endParaRPr lang="en-IN" b="1" dirty="0"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50">
            <a:extLst>
              <a:ext uri="{FF2B5EF4-FFF2-40B4-BE49-F238E27FC236}">
                <a16:creationId xmlns:a16="http://schemas.microsoft.com/office/drawing/2014/main" id="{A3D43A42-5AED-4382-882A-9D29AE2EE85C}"/>
              </a:ext>
            </a:extLst>
          </p:cNvPr>
          <p:cNvSpPr/>
          <p:nvPr/>
        </p:nvSpPr>
        <p:spPr>
          <a:xfrm>
            <a:off x="1431986" y="1693175"/>
            <a:ext cx="5791608" cy="73866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ехническое перевооружение существенной части поверхностей нагрева котлов, исчерпавших ресурс. Исключение запрета на эксплуатацию от надзорных органов. Снижение уровня аварийности котлоагрегатов. Исключение риска возникновения техногенной аварии;</a:t>
            </a:r>
          </a:p>
        </p:txBody>
      </p:sp>
      <p:sp>
        <p:nvSpPr>
          <p:cNvPr id="25" name="Rectangle 44">
            <a:extLst>
              <a:ext uri="{FF2B5EF4-FFF2-40B4-BE49-F238E27FC236}">
                <a16:creationId xmlns:a16="http://schemas.microsoft.com/office/drawing/2014/main" id="{88BF299E-6DEA-4DB4-9040-30598A5A8C46}"/>
              </a:ext>
            </a:extLst>
          </p:cNvPr>
          <p:cNvSpPr/>
          <p:nvPr/>
        </p:nvSpPr>
        <p:spPr>
          <a:xfrm>
            <a:off x="3438803" y="2638018"/>
            <a:ext cx="3010667" cy="30008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r"/>
            <a:endParaRPr lang="en-IN" sz="1350" b="1" dirty="0">
              <a:solidFill>
                <a:srgbClr val="C4C4C4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48">
            <a:extLst>
              <a:ext uri="{FF2B5EF4-FFF2-40B4-BE49-F238E27FC236}">
                <a16:creationId xmlns:a16="http://schemas.microsoft.com/office/drawing/2014/main" id="{78AF1436-F08F-466C-A4D3-8FCB13CF3A79}"/>
              </a:ext>
            </a:extLst>
          </p:cNvPr>
          <p:cNvSpPr/>
          <p:nvPr/>
        </p:nvSpPr>
        <p:spPr>
          <a:xfrm>
            <a:off x="3255928" y="448060"/>
            <a:ext cx="5416568" cy="30008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r"/>
            <a:endParaRPr lang="en-IN" sz="135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30">
            <a:extLst>
              <a:ext uri="{FF2B5EF4-FFF2-40B4-BE49-F238E27FC236}">
                <a16:creationId xmlns:a16="http://schemas.microsoft.com/office/drawing/2014/main" id="{79A0F9BD-DC3E-4B04-BC98-C5A062BC22CD}"/>
              </a:ext>
            </a:extLst>
          </p:cNvPr>
          <p:cNvCxnSpPr>
            <a:cxnSpLocks/>
          </p:cNvCxnSpPr>
          <p:nvPr/>
        </p:nvCxnSpPr>
        <p:spPr>
          <a:xfrm>
            <a:off x="7407910" y="1389329"/>
            <a:ext cx="0" cy="2685678"/>
          </a:xfrm>
          <a:prstGeom prst="line">
            <a:avLst/>
          </a:prstGeom>
          <a:ln>
            <a:solidFill>
              <a:srgbClr val="1D8F8F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BDBF9378-9C6E-49D8-BE0D-385A9FECE3ED}"/>
              </a:ext>
            </a:extLst>
          </p:cNvPr>
          <p:cNvCxnSpPr>
            <a:cxnSpLocks/>
          </p:cNvCxnSpPr>
          <p:nvPr/>
        </p:nvCxnSpPr>
        <p:spPr>
          <a:xfrm flipH="1">
            <a:off x="1198846" y="4432772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47">
            <a:extLst>
              <a:ext uri="{FF2B5EF4-FFF2-40B4-BE49-F238E27FC236}">
                <a16:creationId xmlns:a16="http://schemas.microsoft.com/office/drawing/2014/main" id="{AEE7F168-E4AE-497A-87CE-AC1D372E8061}"/>
              </a:ext>
            </a:extLst>
          </p:cNvPr>
          <p:cNvSpPr/>
          <p:nvPr/>
        </p:nvSpPr>
        <p:spPr>
          <a:xfrm>
            <a:off x="748963" y="257042"/>
            <a:ext cx="7852461" cy="4154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Инвестиционная программа АО «ТГК-16» 2022 года</a:t>
            </a: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6AEA7709-C9EA-45E1-AB26-C384F907D282}"/>
              </a:ext>
            </a:extLst>
          </p:cNvPr>
          <p:cNvCxnSpPr>
            <a:cxnSpLocks/>
          </p:cNvCxnSpPr>
          <p:nvPr/>
        </p:nvCxnSpPr>
        <p:spPr>
          <a:xfrm flipH="1">
            <a:off x="1198846" y="978903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50">
            <a:extLst>
              <a:ext uri="{FF2B5EF4-FFF2-40B4-BE49-F238E27FC236}">
                <a16:creationId xmlns:a16="http://schemas.microsoft.com/office/drawing/2014/main" id="{9DA21E20-D03B-4780-B9B5-E305D7A8C044}"/>
              </a:ext>
            </a:extLst>
          </p:cNvPr>
          <p:cNvSpPr/>
          <p:nvPr/>
        </p:nvSpPr>
        <p:spPr>
          <a:xfrm>
            <a:off x="1431986" y="2717414"/>
            <a:ext cx="5791608" cy="577081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повышение надежности работы оборудования и создания надежных схем электро- и теплоснабжения предприятий, существенные замены электротехнического оборудования, тепломеханического оборудования и кабельных систем;</a:t>
            </a:r>
          </a:p>
        </p:txBody>
      </p:sp>
      <p:sp>
        <p:nvSpPr>
          <p:cNvPr id="31" name="Rectangle 50">
            <a:extLst>
              <a:ext uri="{FF2B5EF4-FFF2-40B4-BE49-F238E27FC236}">
                <a16:creationId xmlns:a16="http://schemas.microsoft.com/office/drawing/2014/main" id="{7CF7ED1C-4B28-47DC-BDD6-DE24D6DB5015}"/>
              </a:ext>
            </a:extLst>
          </p:cNvPr>
          <p:cNvSpPr/>
          <p:nvPr/>
        </p:nvSpPr>
        <p:spPr>
          <a:xfrm>
            <a:off x="1431986" y="3487777"/>
            <a:ext cx="5791608" cy="577081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сключение рисков отключения оборудования с его повреждением, исключение запрета на эксплуатацию от надзорных органов, исключение ввода ограничения по теплоснабжению в отношении промышленного потребителя.</a:t>
            </a:r>
          </a:p>
        </p:txBody>
      </p:sp>
      <p:sp>
        <p:nvSpPr>
          <p:cNvPr id="37" name="Rectangle 50">
            <a:extLst>
              <a:ext uri="{FF2B5EF4-FFF2-40B4-BE49-F238E27FC236}">
                <a16:creationId xmlns:a16="http://schemas.microsoft.com/office/drawing/2014/main" id="{B960392A-412D-4ABD-AF66-C7E4D7BE674B}"/>
              </a:ext>
            </a:extLst>
          </p:cNvPr>
          <p:cNvSpPr/>
          <p:nvPr/>
        </p:nvSpPr>
        <p:spPr>
          <a:xfrm>
            <a:off x="1559603" y="1099344"/>
            <a:ext cx="5791608" cy="253916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C6C59D2-274C-4BE5-9146-A931085A9B5B}"/>
              </a:ext>
            </a:extLst>
          </p:cNvPr>
          <p:cNvSpPr/>
          <p:nvPr/>
        </p:nvSpPr>
        <p:spPr>
          <a:xfrm>
            <a:off x="2411529" y="2433251"/>
            <a:ext cx="18473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50A5603-BAE3-4552-9340-79F68C3CC3D7}"/>
              </a:ext>
            </a:extLst>
          </p:cNvPr>
          <p:cNvSpPr/>
          <p:nvPr/>
        </p:nvSpPr>
        <p:spPr>
          <a:xfrm>
            <a:off x="1384919" y="1214122"/>
            <a:ext cx="72165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оду реализуются мероприятия направленные на: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9447B5D-BD1C-4A1A-B9EA-FD05DA5A1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12032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118995000"/>
              </p:ext>
            </p:extLst>
          </p:nvPr>
        </p:nvGraphicFramePr>
        <p:xfrm>
          <a:off x="574302" y="430924"/>
          <a:ext cx="8322457" cy="4435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C61599-7848-405F-B387-6AA2C7313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63101" y="151630"/>
            <a:ext cx="9637633" cy="994172"/>
          </a:xfrm>
        </p:spPr>
        <p:txBody>
          <a:bodyPr>
            <a:noAutofit/>
          </a:bodyPr>
          <a:lstStyle/>
          <a:p>
            <a:pPr algn="ctr"/>
            <a:r>
              <a:rPr lang="ru-RU" kern="1200" dirty="0"/>
              <a:t>Реализация Инвестиционной программы АО «ТГК-16» в 2022 году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D2BE9257-69ED-497D-B21E-29D56ECAE7DB}"/>
              </a:ext>
            </a:extLst>
          </p:cNvPr>
          <p:cNvSpPr txBox="1"/>
          <p:nvPr/>
        </p:nvSpPr>
        <p:spPr>
          <a:xfrm rot="16200000">
            <a:off x="-1062713" y="2586699"/>
            <a:ext cx="3174472" cy="2786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>
                <a:solidFill>
                  <a:schemeClr val="accent4">
                    <a:lumMod val="50000"/>
                  </a:schemeClr>
                </a:solidFill>
                <a:effectLst>
                  <a:outerShdw blurRad="50800" dist="50800" dir="5400000" algn="ctr" rotWithShape="0">
                    <a:schemeClr val="bg1"/>
                  </a:outerShdw>
                </a:effectLst>
              </a:rPr>
              <a:t>Количество мероприятий</a:t>
            </a: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E49143FC-9E6A-45CC-9FA4-F8EF83CFFEFA}"/>
              </a:ext>
            </a:extLst>
          </p:cNvPr>
          <p:cNvSpPr/>
          <p:nvPr/>
        </p:nvSpPr>
        <p:spPr>
          <a:xfrm>
            <a:off x="1140623" y="2834495"/>
            <a:ext cx="276999" cy="27699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1946B27F-1CCE-4F73-8421-D38378F39AAE}"/>
              </a:ext>
            </a:extLst>
          </p:cNvPr>
          <p:cNvSpPr/>
          <p:nvPr/>
        </p:nvSpPr>
        <p:spPr>
          <a:xfrm>
            <a:off x="1165990" y="3713079"/>
            <a:ext cx="276999" cy="276999"/>
          </a:xfrm>
          <a:prstGeom prst="ellipse">
            <a:avLst/>
          </a:prstGeom>
          <a:solidFill>
            <a:srgbClr val="0CAFB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918273E-9D7C-4A4F-A233-1D6562A356E8}"/>
              </a:ext>
            </a:extLst>
          </p:cNvPr>
          <p:cNvSpPr txBox="1"/>
          <p:nvPr/>
        </p:nvSpPr>
        <p:spPr>
          <a:xfrm>
            <a:off x="1173980" y="3726250"/>
            <a:ext cx="226265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dirty="0"/>
              <a:t>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23992A3-34D3-457B-8DC6-6EB90175713B}"/>
              </a:ext>
            </a:extLst>
          </p:cNvPr>
          <p:cNvSpPr txBox="1"/>
          <p:nvPr/>
        </p:nvSpPr>
        <p:spPr>
          <a:xfrm>
            <a:off x="1121706" y="2832866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>
                <a:solidFill>
                  <a:schemeClr val="bg1"/>
                </a:solidFill>
              </a:rPr>
              <a:t>10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A1B08C31-5864-466C-B188-553FAE82BA31}"/>
              </a:ext>
            </a:extLst>
          </p:cNvPr>
          <p:cNvCxnSpPr/>
          <p:nvPr/>
        </p:nvCxnSpPr>
        <p:spPr>
          <a:xfrm>
            <a:off x="944880" y="547073"/>
            <a:ext cx="3119" cy="3681363"/>
          </a:xfrm>
          <a:prstGeom prst="line">
            <a:avLst/>
          </a:prstGeom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35D2970-1A4E-49BF-AC0F-E9348E0ED1BE}"/>
              </a:ext>
            </a:extLst>
          </p:cNvPr>
          <p:cNvSpPr txBox="1"/>
          <p:nvPr/>
        </p:nvSpPr>
        <p:spPr>
          <a:xfrm>
            <a:off x="1668356" y="2853039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573,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3F0DF1-28A4-48EB-A693-5EE0060D1F25}"/>
              </a:ext>
            </a:extLst>
          </p:cNvPr>
          <p:cNvSpPr txBox="1"/>
          <p:nvPr/>
        </p:nvSpPr>
        <p:spPr>
          <a:xfrm>
            <a:off x="1704522" y="3744135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70,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83A59E-ED9F-499F-860E-33046B176E5B}"/>
              </a:ext>
            </a:extLst>
          </p:cNvPr>
          <p:cNvSpPr txBox="1"/>
          <p:nvPr/>
        </p:nvSpPr>
        <p:spPr>
          <a:xfrm>
            <a:off x="5523161" y="2176659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720,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E2F1AB-4150-4D5C-99FE-90DFA714B9A3}"/>
              </a:ext>
            </a:extLst>
          </p:cNvPr>
          <p:cNvSpPr txBox="1"/>
          <p:nvPr/>
        </p:nvSpPr>
        <p:spPr>
          <a:xfrm>
            <a:off x="5520108" y="3744135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111,4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B83A59E-ED9F-499F-860E-33046B176E5B}"/>
              </a:ext>
            </a:extLst>
          </p:cNvPr>
          <p:cNvSpPr txBox="1"/>
          <p:nvPr/>
        </p:nvSpPr>
        <p:spPr>
          <a:xfrm>
            <a:off x="3551486" y="2996875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231,9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3A59E-ED9F-499F-860E-33046B176E5B}"/>
              </a:ext>
            </a:extLst>
          </p:cNvPr>
          <p:cNvSpPr txBox="1"/>
          <p:nvPr/>
        </p:nvSpPr>
        <p:spPr>
          <a:xfrm>
            <a:off x="3551486" y="3816053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41,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83A59E-ED9F-499F-860E-33046B176E5B}"/>
              </a:ext>
            </a:extLst>
          </p:cNvPr>
          <p:cNvSpPr txBox="1"/>
          <p:nvPr/>
        </p:nvSpPr>
        <p:spPr>
          <a:xfrm>
            <a:off x="1752147" y="2099494"/>
            <a:ext cx="5357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1.3</a:t>
            </a:r>
          </a:p>
        </p:txBody>
      </p:sp>
      <p:sp>
        <p:nvSpPr>
          <p:cNvPr id="41" name="TextBox 1"/>
          <p:cNvSpPr txBox="1"/>
          <p:nvPr/>
        </p:nvSpPr>
        <p:spPr>
          <a:xfrm>
            <a:off x="3696779" y="2214910"/>
            <a:ext cx="5429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tx2"/>
                </a:solidFill>
              </a:rPr>
              <a:t>14</a:t>
            </a:r>
          </a:p>
        </p:txBody>
      </p:sp>
      <p:sp>
        <p:nvSpPr>
          <p:cNvPr id="42" name="TextBox 1"/>
          <p:cNvSpPr txBox="1"/>
          <p:nvPr/>
        </p:nvSpPr>
        <p:spPr>
          <a:xfrm>
            <a:off x="5605462" y="616793"/>
            <a:ext cx="5429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tx2"/>
                </a:solidFill>
              </a:rPr>
              <a:t>27</a:t>
            </a:r>
          </a:p>
        </p:txBody>
      </p:sp>
      <p:sp>
        <p:nvSpPr>
          <p:cNvPr id="15" name="TextBox 1">
            <a:extLst>
              <a:ext uri="{FF2B5EF4-FFF2-40B4-BE49-F238E27FC236}">
                <a16:creationId xmlns:a16="http://schemas.microsoft.com/office/drawing/2014/main" id="{12D3E139-8E63-4A40-B5A8-2C8C607E6106}"/>
              </a:ext>
            </a:extLst>
          </p:cNvPr>
          <p:cNvSpPr txBox="1"/>
          <p:nvPr/>
        </p:nvSpPr>
        <p:spPr>
          <a:xfrm rot="16200000">
            <a:off x="5224026" y="2936510"/>
            <a:ext cx="1700756" cy="2786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825" dirty="0">
                <a:solidFill>
                  <a:schemeClr val="bg1"/>
                </a:solidFill>
              </a:rPr>
              <a:t>млн. руб. без НДС</a:t>
            </a:r>
          </a:p>
        </p:txBody>
      </p:sp>
      <p:sp>
        <p:nvSpPr>
          <p:cNvPr id="43" name="TextBox 1">
            <a:extLst>
              <a:ext uri="{FF2B5EF4-FFF2-40B4-BE49-F238E27FC236}">
                <a16:creationId xmlns:a16="http://schemas.microsoft.com/office/drawing/2014/main" id="{12D3E139-8E63-4A40-B5A8-2C8C607E6106}"/>
              </a:ext>
            </a:extLst>
          </p:cNvPr>
          <p:cNvSpPr txBox="1"/>
          <p:nvPr/>
        </p:nvSpPr>
        <p:spPr>
          <a:xfrm rot="16200000">
            <a:off x="3302803" y="2925985"/>
            <a:ext cx="1700756" cy="2786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825" dirty="0">
                <a:solidFill>
                  <a:schemeClr val="bg1"/>
                </a:solidFill>
              </a:rPr>
              <a:t>млн. руб. без НДС</a:t>
            </a:r>
          </a:p>
        </p:txBody>
      </p:sp>
      <p:sp>
        <p:nvSpPr>
          <p:cNvPr id="44" name="TextBox 1">
            <a:extLst>
              <a:ext uri="{FF2B5EF4-FFF2-40B4-BE49-F238E27FC236}">
                <a16:creationId xmlns:a16="http://schemas.microsoft.com/office/drawing/2014/main" id="{12D3E139-8E63-4A40-B5A8-2C8C607E6106}"/>
              </a:ext>
            </a:extLst>
          </p:cNvPr>
          <p:cNvSpPr txBox="1"/>
          <p:nvPr/>
        </p:nvSpPr>
        <p:spPr>
          <a:xfrm rot="16200000">
            <a:off x="1412512" y="2913625"/>
            <a:ext cx="1700756" cy="2786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825" dirty="0">
                <a:solidFill>
                  <a:schemeClr val="bg1"/>
                </a:solidFill>
              </a:rPr>
              <a:t>млн. руб. без НДС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E49143FC-9E6A-45CC-9FA4-F8EF83CFFEFA}"/>
              </a:ext>
            </a:extLst>
          </p:cNvPr>
          <p:cNvSpPr/>
          <p:nvPr/>
        </p:nvSpPr>
        <p:spPr>
          <a:xfrm>
            <a:off x="3048224" y="2952771"/>
            <a:ext cx="276999" cy="27699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1946B27F-1CCE-4F73-8421-D38378F39AAE}"/>
              </a:ext>
            </a:extLst>
          </p:cNvPr>
          <p:cNvSpPr/>
          <p:nvPr/>
        </p:nvSpPr>
        <p:spPr>
          <a:xfrm>
            <a:off x="3073591" y="3785635"/>
            <a:ext cx="276999" cy="276999"/>
          </a:xfrm>
          <a:prstGeom prst="ellipse">
            <a:avLst/>
          </a:prstGeom>
          <a:solidFill>
            <a:srgbClr val="0CAFB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918273E-9D7C-4A4F-A233-1D6562A356E8}"/>
              </a:ext>
            </a:extLst>
          </p:cNvPr>
          <p:cNvSpPr txBox="1"/>
          <p:nvPr/>
        </p:nvSpPr>
        <p:spPr>
          <a:xfrm>
            <a:off x="3081581" y="3798806"/>
            <a:ext cx="226265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dirty="0"/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23992A3-34D3-457B-8DC6-6EB90175713B}"/>
              </a:ext>
            </a:extLst>
          </p:cNvPr>
          <p:cNvSpPr txBox="1"/>
          <p:nvPr/>
        </p:nvSpPr>
        <p:spPr>
          <a:xfrm>
            <a:off x="3058067" y="2958541"/>
            <a:ext cx="26481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E49143FC-9E6A-45CC-9FA4-F8EF83CFFEFA}"/>
              </a:ext>
            </a:extLst>
          </p:cNvPr>
          <p:cNvSpPr/>
          <p:nvPr/>
        </p:nvSpPr>
        <p:spPr>
          <a:xfrm>
            <a:off x="4966488" y="2788775"/>
            <a:ext cx="276999" cy="27699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1946B27F-1CCE-4F73-8421-D38378F39AAE}"/>
              </a:ext>
            </a:extLst>
          </p:cNvPr>
          <p:cNvSpPr/>
          <p:nvPr/>
        </p:nvSpPr>
        <p:spPr>
          <a:xfrm>
            <a:off x="4991855" y="3720699"/>
            <a:ext cx="276999" cy="276999"/>
          </a:xfrm>
          <a:prstGeom prst="ellipse">
            <a:avLst/>
          </a:prstGeom>
          <a:solidFill>
            <a:srgbClr val="0CAFB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918273E-9D7C-4A4F-A233-1D6562A356E8}"/>
              </a:ext>
            </a:extLst>
          </p:cNvPr>
          <p:cNvSpPr txBox="1"/>
          <p:nvPr/>
        </p:nvSpPr>
        <p:spPr>
          <a:xfrm>
            <a:off x="4999845" y="3733870"/>
            <a:ext cx="226265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dirty="0"/>
              <a:t>7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3992A3-34D3-457B-8DC6-6EB90175713B}"/>
              </a:ext>
            </a:extLst>
          </p:cNvPr>
          <p:cNvSpPr txBox="1"/>
          <p:nvPr/>
        </p:nvSpPr>
        <p:spPr>
          <a:xfrm>
            <a:off x="4947571" y="2787146"/>
            <a:ext cx="34496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1946B27F-1CCE-4F73-8421-D38378F39AAE}"/>
              </a:ext>
            </a:extLst>
          </p:cNvPr>
          <p:cNvSpPr/>
          <p:nvPr/>
        </p:nvSpPr>
        <p:spPr>
          <a:xfrm>
            <a:off x="1135494" y="2107328"/>
            <a:ext cx="276999" cy="276999"/>
          </a:xfrm>
          <a:prstGeom prst="ellipse">
            <a:avLst/>
          </a:prstGeom>
          <a:solidFill>
            <a:srgbClr val="77E2C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918273E-9D7C-4A4F-A233-1D6562A356E8}"/>
              </a:ext>
            </a:extLst>
          </p:cNvPr>
          <p:cNvSpPr txBox="1"/>
          <p:nvPr/>
        </p:nvSpPr>
        <p:spPr>
          <a:xfrm>
            <a:off x="1143484" y="2103187"/>
            <a:ext cx="226265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dirty="0"/>
              <a:t>1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 bwMode="auto">
          <a:xfrm flipH="1" flipV="1">
            <a:off x="3325532" y="3088549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Прямая соединительная линия 57"/>
          <p:cNvCxnSpPr/>
          <p:nvPr/>
        </p:nvCxnSpPr>
        <p:spPr bwMode="auto">
          <a:xfrm flipH="1" flipV="1">
            <a:off x="5268854" y="3853756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Прямая соединительная линия 58"/>
          <p:cNvCxnSpPr/>
          <p:nvPr/>
        </p:nvCxnSpPr>
        <p:spPr bwMode="auto">
          <a:xfrm flipH="1" flipV="1">
            <a:off x="1407746" y="2240930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Прямая соединительная линия 59"/>
          <p:cNvCxnSpPr/>
          <p:nvPr/>
        </p:nvCxnSpPr>
        <p:spPr bwMode="auto">
          <a:xfrm flipH="1" flipV="1">
            <a:off x="3350590" y="3911045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Прямая соединительная линия 60"/>
          <p:cNvCxnSpPr/>
          <p:nvPr/>
        </p:nvCxnSpPr>
        <p:spPr bwMode="auto">
          <a:xfrm flipH="1" flipV="1">
            <a:off x="1407747" y="2972994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Прямая соединительная линия 61"/>
          <p:cNvCxnSpPr/>
          <p:nvPr/>
        </p:nvCxnSpPr>
        <p:spPr bwMode="auto">
          <a:xfrm flipH="1" flipV="1">
            <a:off x="1430221" y="3848857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Прямая соединительная линия 62"/>
          <p:cNvCxnSpPr/>
          <p:nvPr/>
        </p:nvCxnSpPr>
        <p:spPr bwMode="auto">
          <a:xfrm flipH="1" flipV="1">
            <a:off x="5243487" y="2917153"/>
            <a:ext cx="268281" cy="27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4CF9D9B-92D6-4275-BC1B-3B0F8FC08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623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27">
            <a:extLst>
              <a:ext uri="{FF2B5EF4-FFF2-40B4-BE49-F238E27FC236}">
                <a16:creationId xmlns:a16="http://schemas.microsoft.com/office/drawing/2014/main" id="{A8E2474E-9820-479F-8987-3F40190A9DD8}"/>
              </a:ext>
            </a:extLst>
          </p:cNvPr>
          <p:cNvSpPr/>
          <p:nvPr/>
        </p:nvSpPr>
        <p:spPr>
          <a:xfrm>
            <a:off x="1169775" y="1673769"/>
            <a:ext cx="424902" cy="42490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11" name="Oval 27">
            <a:extLst>
              <a:ext uri="{FF2B5EF4-FFF2-40B4-BE49-F238E27FC236}">
                <a16:creationId xmlns:a16="http://schemas.microsoft.com/office/drawing/2014/main" id="{8B5645E9-8BD2-47D9-B61E-9825889D6E63}"/>
              </a:ext>
            </a:extLst>
          </p:cNvPr>
          <p:cNvSpPr/>
          <p:nvPr/>
        </p:nvSpPr>
        <p:spPr>
          <a:xfrm>
            <a:off x="1185900" y="3044830"/>
            <a:ext cx="424902" cy="42490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lang="en-IN" b="1" dirty="0"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50">
            <a:extLst>
              <a:ext uri="{FF2B5EF4-FFF2-40B4-BE49-F238E27FC236}">
                <a16:creationId xmlns:a16="http://schemas.microsoft.com/office/drawing/2014/main" id="{A3D43A42-5AED-4382-882A-9D29AE2EE85C}"/>
              </a:ext>
            </a:extLst>
          </p:cNvPr>
          <p:cNvSpPr/>
          <p:nvPr/>
        </p:nvSpPr>
        <p:spPr>
          <a:xfrm>
            <a:off x="1877325" y="1656022"/>
            <a:ext cx="5703638" cy="5539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r>
              <a:rPr lang="ru-RU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Рост цен на материально-технические ресурсы на фоне нестабильной геополитической ситуации</a:t>
            </a:r>
          </a:p>
        </p:txBody>
      </p:sp>
      <p:sp>
        <p:nvSpPr>
          <p:cNvPr id="21" name="Rectangle 53">
            <a:extLst>
              <a:ext uri="{FF2B5EF4-FFF2-40B4-BE49-F238E27FC236}">
                <a16:creationId xmlns:a16="http://schemas.microsoft.com/office/drawing/2014/main" id="{E51C14E8-97F0-4AC9-BEF3-1801CC9C1AEA}"/>
              </a:ext>
            </a:extLst>
          </p:cNvPr>
          <p:cNvSpPr/>
          <p:nvPr/>
        </p:nvSpPr>
        <p:spPr>
          <a:xfrm>
            <a:off x="1877326" y="2980282"/>
            <a:ext cx="5825966" cy="553998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r>
              <a:rPr lang="ru-RU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санкций относительно поставок на территорию РФ импортного оборудования</a:t>
            </a:r>
          </a:p>
        </p:txBody>
      </p:sp>
      <p:sp>
        <p:nvSpPr>
          <p:cNvPr id="28" name="Rectangle 48">
            <a:extLst>
              <a:ext uri="{FF2B5EF4-FFF2-40B4-BE49-F238E27FC236}">
                <a16:creationId xmlns:a16="http://schemas.microsoft.com/office/drawing/2014/main" id="{78AF1436-F08F-466C-A4D3-8FCB13CF3A79}"/>
              </a:ext>
            </a:extLst>
          </p:cNvPr>
          <p:cNvSpPr/>
          <p:nvPr/>
        </p:nvSpPr>
        <p:spPr>
          <a:xfrm>
            <a:off x="3255928" y="448060"/>
            <a:ext cx="5416568" cy="30008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r"/>
            <a:endParaRPr lang="en-IN" sz="135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30">
            <a:extLst>
              <a:ext uri="{FF2B5EF4-FFF2-40B4-BE49-F238E27FC236}">
                <a16:creationId xmlns:a16="http://schemas.microsoft.com/office/drawing/2014/main" id="{79A0F9BD-DC3E-4B04-BC98-C5A062BC22CD}"/>
              </a:ext>
            </a:extLst>
          </p:cNvPr>
          <p:cNvCxnSpPr>
            <a:cxnSpLocks/>
          </p:cNvCxnSpPr>
          <p:nvPr/>
        </p:nvCxnSpPr>
        <p:spPr>
          <a:xfrm>
            <a:off x="1751915" y="1380050"/>
            <a:ext cx="685" cy="2529010"/>
          </a:xfrm>
          <a:prstGeom prst="line">
            <a:avLst/>
          </a:prstGeom>
          <a:ln>
            <a:solidFill>
              <a:srgbClr val="1D8F8F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A1B08C31-5864-466C-B188-553FAE82BA31}"/>
              </a:ext>
            </a:extLst>
          </p:cNvPr>
          <p:cNvCxnSpPr/>
          <p:nvPr/>
        </p:nvCxnSpPr>
        <p:spPr>
          <a:xfrm flipH="1" flipV="1">
            <a:off x="838200" y="2636586"/>
            <a:ext cx="3131104" cy="381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47">
            <a:extLst>
              <a:ext uri="{FF2B5EF4-FFF2-40B4-BE49-F238E27FC236}">
                <a16:creationId xmlns:a16="http://schemas.microsoft.com/office/drawing/2014/main" id="{AEE7F168-E4AE-497A-87CE-AC1D372E8061}"/>
              </a:ext>
            </a:extLst>
          </p:cNvPr>
          <p:cNvSpPr/>
          <p:nvPr/>
        </p:nvSpPr>
        <p:spPr>
          <a:xfrm>
            <a:off x="1016655" y="272557"/>
            <a:ext cx="7311962" cy="707886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Проблемные вопросы, возникающие в ходе исполнения инвестиционной программы: </a:t>
            </a: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6AEA7709-C9EA-45E1-AB26-C384F907D282}"/>
              </a:ext>
            </a:extLst>
          </p:cNvPr>
          <p:cNvCxnSpPr>
            <a:cxnSpLocks/>
          </p:cNvCxnSpPr>
          <p:nvPr/>
        </p:nvCxnSpPr>
        <p:spPr>
          <a:xfrm flipH="1">
            <a:off x="999167" y="1132043"/>
            <a:ext cx="7329450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7EC485C-186F-42E1-86E0-8EB959E03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23BD4-82A3-45A5-840E-5A8E9E7619CB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7146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8612D281-B5DD-4C0F-A18A-6B4945D88347}"/>
    </a:ext>
  </a:extLst>
</a:theme>
</file>

<file path=ppt/theme/theme2.xml><?xml version="1.0" encoding="utf-8"?>
<a:theme xmlns:a="http://schemas.openxmlformats.org/drawingml/2006/main" name="Collages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C2486759-7570-49E9-AA9D-58228F0A5E03}"/>
    </a:ext>
  </a:extLst>
</a:theme>
</file>

<file path=ppt/theme/theme3.xml><?xml version="1.0" encoding="utf-8"?>
<a:theme xmlns:a="http://schemas.openxmlformats.org/drawingml/2006/main" name="Basic slides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A1706192-F2E7-4263-BD07-23BDAEDB7129}"/>
    </a:ext>
  </a:extLst>
</a:theme>
</file>

<file path=ppt/theme/theme4.xml><?xml version="1.0" encoding="utf-8"?>
<a:theme xmlns:a="http://schemas.openxmlformats.org/drawingml/2006/main" name="Final slides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41D6B824-FB9C-4842-A212-237CBC53C0C2}"/>
    </a:ext>
  </a:extLst>
</a:theme>
</file>

<file path=ppt/theme/theme5.xml><?xml version="1.0" encoding="utf-8"?>
<a:theme xmlns:a="http://schemas.openxmlformats.org/drawingml/2006/main" name="Bullets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27335868-EA85-4A8E-8708-24C2D5BC6E05}"/>
    </a:ext>
  </a:extLst>
</a:theme>
</file>

<file path=ppt/theme/theme6.xml><?xml version="1.0" encoding="utf-8"?>
<a:theme xmlns:a="http://schemas.openxmlformats.org/drawingml/2006/main" name="Section title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EN 2021 NEW" id="{99ED8109-26A5-41BB-B349-3F47FEB3EBDC}" vid="{9857E725-8C03-4E07-8709-8792585F3D4B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ИБУР NEW ОСНОВНЫЕ ЦВЕТА">
    <a:dk1>
      <a:srgbClr val="003D4C"/>
    </a:dk1>
    <a:lt1>
      <a:sysClr val="window" lastClr="FFFFFF"/>
    </a:lt1>
    <a:dk2>
      <a:srgbClr val="003D4C"/>
    </a:dk2>
    <a:lt2>
      <a:srgbClr val="77E2C3"/>
    </a:lt2>
    <a:accent1>
      <a:srgbClr val="008C95"/>
    </a:accent1>
    <a:accent2>
      <a:srgbClr val="003D4C"/>
    </a:accent2>
    <a:accent3>
      <a:srgbClr val="77E2C3"/>
    </a:accent3>
    <a:accent4>
      <a:srgbClr val="BFBFBF"/>
    </a:accent4>
    <a:accent5>
      <a:srgbClr val="000000"/>
    </a:accent5>
    <a:accent6>
      <a:srgbClr val="E04E39"/>
    </a:accent6>
    <a:hlink>
      <a:srgbClr val="008CFA"/>
    </a:hlink>
    <a:folHlink>
      <a:srgbClr val="006EC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0A7FD75-1E90-43D2-ABF1-A6C12E8540A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7bda88f5-81ee-4ce0-acd0-0fc58edecc9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х9_EN 2021 NEW</Template>
  <TotalTime>124</TotalTime>
  <Words>637</Words>
  <Application>Microsoft Office PowerPoint</Application>
  <PresentationFormat>Экран (16:9)</PresentationFormat>
  <Paragraphs>130</Paragraphs>
  <Slides>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Arial</vt:lpstr>
      <vt:lpstr>Calibri</vt:lpstr>
      <vt:lpstr>Open Sans</vt:lpstr>
      <vt:lpstr>Wingdings</vt:lpstr>
      <vt:lpstr>Title slides</vt:lpstr>
      <vt:lpstr>Collages</vt:lpstr>
      <vt:lpstr>Basic slides</vt:lpstr>
      <vt:lpstr>Final slides</vt:lpstr>
      <vt:lpstr>Bullets</vt:lpstr>
      <vt:lpstr>Section title</vt:lpstr>
      <vt:lpstr>Слайд think-cell</vt:lpstr>
      <vt:lpstr>Инвестиционная программа  АО «ТГК-16»</vt:lpstr>
      <vt:lpstr>Презентация PowerPoint</vt:lpstr>
      <vt:lpstr>Презентация PowerPoint</vt:lpstr>
      <vt:lpstr>Итоги реализации Инвестиционной программы                             АО «ТГК-16» за 2021 год</vt:lpstr>
      <vt:lpstr>Источники финансирования  инвестиционной программы 2021 года</vt:lpstr>
      <vt:lpstr>Презентация PowerPoint</vt:lpstr>
      <vt:lpstr>Презентация PowerPoint</vt:lpstr>
      <vt:lpstr>Реализация Инвестиционной программы АО «ТГК-16» в 2022 году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template</dc:title>
  <dc:creator>Кондратьев Дмитрий Сергеевич</dc:creator>
  <cp:lastModifiedBy>Четверкина Лилия Фаргатовна</cp:lastModifiedBy>
  <cp:revision>22</cp:revision>
  <dcterms:created xsi:type="dcterms:W3CDTF">2022-07-27T11:14:23Z</dcterms:created>
  <dcterms:modified xsi:type="dcterms:W3CDTF">2022-07-28T07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